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94" r:id="rId5"/>
  </p:sldMasterIdLst>
  <p:notesMasterIdLst>
    <p:notesMasterId r:id="rId16"/>
  </p:notesMasterIdLst>
  <p:sldIdLst>
    <p:sldId id="2142533194" r:id="rId6"/>
    <p:sldId id="2142533207" r:id="rId7"/>
    <p:sldId id="2142533192" r:id="rId8"/>
    <p:sldId id="2142533182" r:id="rId9"/>
    <p:sldId id="2142533206" r:id="rId10"/>
    <p:sldId id="2142533188" r:id="rId11"/>
    <p:sldId id="2142533197" r:id="rId12"/>
    <p:sldId id="2142533196" r:id="rId13"/>
    <p:sldId id="2142533201" r:id="rId14"/>
    <p:sldId id="2142533202" r:id="rId15"/>
  </p:sldIdLst>
  <p:sldSz cx="9144000" cy="5143500" type="screen16x9"/>
  <p:notesSz cx="6858000" cy="9144000"/>
  <p:defaultTextStyle>
    <a:defPPr>
      <a:defRPr lang="nl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97" userDrawn="1">
          <p15:clr>
            <a:srgbClr val="A4A3A4"/>
          </p15:clr>
        </p15:guide>
        <p15:guide id="2" pos="5375" userDrawn="1">
          <p15:clr>
            <a:srgbClr val="A4A3A4"/>
          </p15:clr>
        </p15:guide>
        <p15:guide id="3" pos="3402" userDrawn="1">
          <p15:clr>
            <a:srgbClr val="A4A3A4"/>
          </p15:clr>
        </p15:guide>
        <p15:guide id="4" orient="horz" pos="171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6E25"/>
    <a:srgbClr val="222124"/>
    <a:srgbClr val="D36D25"/>
    <a:srgbClr val="D57025"/>
    <a:srgbClr val="FFFFFF"/>
    <a:srgbClr val="00B050"/>
    <a:srgbClr val="FED650"/>
    <a:srgbClr val="FFB921"/>
    <a:srgbClr val="E6E6E6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A8FAD9-B459-26D4-9D53-9CB03EDF714A}" v="58" dt="2024-07-08T20:12:23.194"/>
    <p1510:client id="{4D5F50BA-B452-0FB9-4BD2-110DEA40E143}" v="76" dt="2024-07-08T20:15:43.341"/>
    <p1510:client id="{51F934D8-BB2E-6D74-5B31-8FCC0D3B9902}" v="262" dt="2024-07-08T20:22:19.033"/>
    <p1510:client id="{7B18185B-35CE-44C0-911D-6C70AFCC39ED}" v="198" dt="2024-07-08T20:06:35.485"/>
    <p1510:client id="{99471BD6-CC70-A023-BD5C-1C96D8423999}" v="10" dt="2024-07-09T06:56:05.658"/>
  </p1510:revLst>
</p1510:revInfo>
</file>

<file path=ppt/tableStyles.xml><?xml version="1.0" encoding="utf-8"?>
<a:tblStyleLst xmlns:a="http://schemas.openxmlformats.org/drawingml/2006/main" def="{5C22544A-7EE6-4342-B048-85BDC9FD1C3A}"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1597"/>
        <p:guide pos="5375"/>
        <p:guide pos="3402"/>
        <p:guide orient="horz" pos="1711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laerts Frédéric" userId="S::frederic.melaerts@ond.vlaanderen.be::e63e2408-a9ae-43c8-8f5f-37811e9e956a" providerId="AD" clId="Web-{4D5F50BA-B452-0FB9-4BD2-110DEA40E143}"/>
    <pc:docChg chg="modSld">
      <pc:chgData name="Melaerts Frédéric" userId="S::frederic.melaerts@ond.vlaanderen.be::e63e2408-a9ae-43c8-8f5f-37811e9e956a" providerId="AD" clId="Web-{4D5F50BA-B452-0FB9-4BD2-110DEA40E143}" dt="2024-07-08T20:15:43.341" v="75"/>
      <pc:docMkLst>
        <pc:docMk/>
      </pc:docMkLst>
      <pc:sldChg chg="modSp">
        <pc:chgData name="Melaerts Frédéric" userId="S::frederic.melaerts@ond.vlaanderen.be::e63e2408-a9ae-43c8-8f5f-37811e9e956a" providerId="AD" clId="Web-{4D5F50BA-B452-0FB9-4BD2-110DEA40E143}" dt="2024-07-08T20:15:15.544" v="40"/>
        <pc:sldMkLst>
          <pc:docMk/>
          <pc:sldMk cId="3274796696" sldId="2142533182"/>
        </pc:sldMkLst>
        <pc:spChg chg="mod">
          <ac:chgData name="Melaerts Frédéric" userId="S::frederic.melaerts@ond.vlaanderen.be::e63e2408-a9ae-43c8-8f5f-37811e9e956a" providerId="AD" clId="Web-{4D5F50BA-B452-0FB9-4BD2-110DEA40E143}" dt="2024-07-08T20:15:15.200" v="14"/>
          <ac:spMkLst>
            <pc:docMk/>
            <pc:sldMk cId="3274796696" sldId="2142533182"/>
            <ac:spMk id="2" creationId="{11112FBC-DFFE-ACF2-47A4-8CD7ABA20CF0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16" v="33"/>
          <ac:spMkLst>
            <pc:docMk/>
            <pc:sldMk cId="3274796696" sldId="2142533182"/>
            <ac:spMk id="4" creationId="{15F6E2AD-0A0C-5621-0654-0E8112305882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00" v="15"/>
          <ac:spMkLst>
            <pc:docMk/>
            <pc:sldMk cId="3274796696" sldId="2142533182"/>
            <ac:spMk id="7" creationId="{DF23D407-C8D3-488B-2DAB-C8B546989A0E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00" v="16"/>
          <ac:spMkLst>
            <pc:docMk/>
            <pc:sldMk cId="3274796696" sldId="2142533182"/>
            <ac:spMk id="9" creationId="{420C4F04-6272-B1AB-4FFC-6AA6B9B29806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16" v="34"/>
          <ac:spMkLst>
            <pc:docMk/>
            <pc:sldMk cId="3274796696" sldId="2142533182"/>
            <ac:spMk id="15" creationId="{C9ADF1A8-C7AA-EA85-5B1B-DAA68A05744E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16" v="35"/>
          <ac:spMkLst>
            <pc:docMk/>
            <pc:sldMk cId="3274796696" sldId="2142533182"/>
            <ac:spMk id="16" creationId="{30D906E2-C667-31F4-908E-3E22F5E18E96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16" v="36"/>
          <ac:spMkLst>
            <pc:docMk/>
            <pc:sldMk cId="3274796696" sldId="2142533182"/>
            <ac:spMk id="18" creationId="{ECA2DF7A-91AD-4EEC-8885-8C5F162773C8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16" v="37"/>
          <ac:spMkLst>
            <pc:docMk/>
            <pc:sldMk cId="3274796696" sldId="2142533182"/>
            <ac:spMk id="19" creationId="{3E20A9B7-5D98-6ECA-BC19-12E50C0630F4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16" v="38"/>
          <ac:spMkLst>
            <pc:docMk/>
            <pc:sldMk cId="3274796696" sldId="2142533182"/>
            <ac:spMk id="21" creationId="{CF0E8DCB-5F11-D423-33E2-2447900E2158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16" v="39"/>
          <ac:spMkLst>
            <pc:docMk/>
            <pc:sldMk cId="3274796696" sldId="2142533182"/>
            <ac:spMk id="22" creationId="{6FD54582-C095-7460-C323-8D2AD7E9DDB3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00" v="13"/>
          <ac:spMkLst>
            <pc:docMk/>
            <pc:sldMk cId="3274796696" sldId="2142533182"/>
            <ac:spMk id="28" creationId="{96D866F3-B9AC-71DD-F0D3-41449610F414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544" v="40"/>
          <ac:spMkLst>
            <pc:docMk/>
            <pc:sldMk cId="3274796696" sldId="2142533182"/>
            <ac:spMk id="1024" creationId="{AA1AE1C3-480A-DB28-FF7D-B77103510A68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00" v="17"/>
          <ac:spMkLst>
            <pc:docMk/>
            <pc:sldMk cId="3274796696" sldId="2142533182"/>
            <ac:spMk id="1054" creationId="{37E904A9-71AC-8FC4-CE11-6EAEB97C7987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00" v="18"/>
          <ac:spMkLst>
            <pc:docMk/>
            <pc:sldMk cId="3274796696" sldId="2142533182"/>
            <ac:spMk id="1055" creationId="{29C1D6F6-F640-A1AF-2674-615B0757471C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00" v="19"/>
          <ac:spMkLst>
            <pc:docMk/>
            <pc:sldMk cId="3274796696" sldId="2142533182"/>
            <ac:spMk id="1066" creationId="{DCD9F087-86E5-0D17-C8C1-9087E02716EC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00" v="20"/>
          <ac:spMkLst>
            <pc:docMk/>
            <pc:sldMk cId="3274796696" sldId="2142533182"/>
            <ac:spMk id="1068" creationId="{CFB2431B-DB83-7886-0980-8089B4459B58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00" v="21"/>
          <ac:spMkLst>
            <pc:docMk/>
            <pc:sldMk cId="3274796696" sldId="2142533182"/>
            <ac:spMk id="1071" creationId="{5A38A93B-0005-A32E-758D-98D4A05D7F18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00" v="22"/>
          <ac:spMkLst>
            <pc:docMk/>
            <pc:sldMk cId="3274796696" sldId="2142533182"/>
            <ac:spMk id="1072" creationId="{D388FB2E-E200-C421-86E3-B0335E5457C2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00" v="23"/>
          <ac:spMkLst>
            <pc:docMk/>
            <pc:sldMk cId="3274796696" sldId="2142533182"/>
            <ac:spMk id="1075" creationId="{001A14B1-822B-B99A-1437-F3BC2A8D25F6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00" v="24"/>
          <ac:spMkLst>
            <pc:docMk/>
            <pc:sldMk cId="3274796696" sldId="2142533182"/>
            <ac:spMk id="1076" creationId="{9B20DE57-3651-954F-0892-D91FA58D01E9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00" v="25"/>
          <ac:spMkLst>
            <pc:docMk/>
            <pc:sldMk cId="3274796696" sldId="2142533182"/>
            <ac:spMk id="1078" creationId="{8018215B-1E94-8AB7-C4F8-75A9DBCCDC63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00" v="26"/>
          <ac:spMkLst>
            <pc:docMk/>
            <pc:sldMk cId="3274796696" sldId="2142533182"/>
            <ac:spMk id="1079" creationId="{D8E9C168-F822-156C-963F-34445B1BBF49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00" v="27"/>
          <ac:spMkLst>
            <pc:docMk/>
            <pc:sldMk cId="3274796696" sldId="2142533182"/>
            <ac:spMk id="1080" creationId="{C66446CB-68A1-3F18-89A3-5933ABCAD352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00" v="28"/>
          <ac:spMkLst>
            <pc:docMk/>
            <pc:sldMk cId="3274796696" sldId="2142533182"/>
            <ac:spMk id="1081" creationId="{5059FBC7-1F74-F2DA-1D82-09301294204A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00" v="29"/>
          <ac:spMkLst>
            <pc:docMk/>
            <pc:sldMk cId="3274796696" sldId="2142533182"/>
            <ac:spMk id="1082" creationId="{5340D611-BFC5-D59B-DBA7-67893B9DF966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00" v="30"/>
          <ac:spMkLst>
            <pc:docMk/>
            <pc:sldMk cId="3274796696" sldId="2142533182"/>
            <ac:spMk id="1095" creationId="{C54D964F-2A56-9F17-C819-C2C496B7EB67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00" v="31"/>
          <ac:spMkLst>
            <pc:docMk/>
            <pc:sldMk cId="3274796696" sldId="2142533182"/>
            <ac:spMk id="1096" creationId="{D01D7769-3A10-F0AC-103D-143CDA5675F9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15.216" v="32"/>
          <ac:spMkLst>
            <pc:docMk/>
            <pc:sldMk cId="3274796696" sldId="2142533182"/>
            <ac:spMk id="1119" creationId="{D8E369E6-DB78-AE6A-E8D2-783F25657F8F}"/>
          </ac:spMkLst>
        </pc:spChg>
      </pc:sldChg>
      <pc:sldChg chg="modSp">
        <pc:chgData name="Melaerts Frédéric" userId="S::frederic.melaerts@ond.vlaanderen.be::e63e2408-a9ae-43c8-8f5f-37811e9e956a" providerId="AD" clId="Web-{4D5F50BA-B452-0FB9-4BD2-110DEA40E143}" dt="2024-07-08T20:14:49.573" v="12" actId="14100"/>
        <pc:sldMkLst>
          <pc:docMk/>
          <pc:sldMk cId="3396145674" sldId="2142533192"/>
        </pc:sldMkLst>
        <pc:spChg chg="mod">
          <ac:chgData name="Melaerts Frédéric" userId="S::frederic.melaerts@ond.vlaanderen.be::e63e2408-a9ae-43c8-8f5f-37811e9e956a" providerId="AD" clId="Web-{4D5F50BA-B452-0FB9-4BD2-110DEA40E143}" dt="2024-07-08T20:13:47.525" v="1" actId="14100"/>
          <ac:spMkLst>
            <pc:docMk/>
            <pc:sldMk cId="3396145674" sldId="2142533192"/>
            <ac:spMk id="16" creationId="{6F9F741B-8E68-5B29-BF01-A730C072293A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4:49.573" v="12" actId="14100"/>
          <ac:spMkLst>
            <pc:docMk/>
            <pc:sldMk cId="3396145674" sldId="2142533192"/>
            <ac:spMk id="20" creationId="{52019464-F830-691A-5073-14FD4F803464}"/>
          </ac:spMkLst>
        </pc:spChg>
      </pc:sldChg>
      <pc:sldChg chg="modSp">
        <pc:chgData name="Melaerts Frédéric" userId="S::frederic.melaerts@ond.vlaanderen.be::e63e2408-a9ae-43c8-8f5f-37811e9e956a" providerId="AD" clId="Web-{4D5F50BA-B452-0FB9-4BD2-110DEA40E143}" dt="2024-07-08T20:15:43.341" v="75"/>
        <pc:sldMkLst>
          <pc:docMk/>
          <pc:sldMk cId="127179412" sldId="2142533206"/>
        </pc:sldMkLst>
        <pc:spChg chg="mod">
          <ac:chgData name="Melaerts Frédéric" userId="S::frederic.melaerts@ond.vlaanderen.be::e63e2408-a9ae-43c8-8f5f-37811e9e956a" providerId="AD" clId="Web-{4D5F50BA-B452-0FB9-4BD2-110DEA40E143}" dt="2024-07-08T20:15:23.982" v="43"/>
          <ac:spMkLst>
            <pc:docMk/>
            <pc:sldMk cId="127179412" sldId="2142533206"/>
            <ac:spMk id="3" creationId="{482A590D-91D9-C052-2BE5-0929139E2382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23.982" v="44"/>
          <ac:spMkLst>
            <pc:docMk/>
            <pc:sldMk cId="127179412" sldId="2142533206"/>
            <ac:spMk id="4" creationId="{36C88A42-7444-B37A-084F-2D2359DC897B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23.982" v="46"/>
          <ac:spMkLst>
            <pc:docMk/>
            <pc:sldMk cId="127179412" sldId="2142533206"/>
            <ac:spMk id="13" creationId="{6030B198-2A1E-8636-3B1D-934398521F47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23.982" v="45"/>
          <ac:spMkLst>
            <pc:docMk/>
            <pc:sldMk cId="127179412" sldId="2142533206"/>
            <ac:spMk id="14" creationId="{C76C50F7-D66F-EAC9-2A47-A92F6718D925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23.982" v="41"/>
          <ac:spMkLst>
            <pc:docMk/>
            <pc:sldMk cId="127179412" sldId="2142533206"/>
            <ac:spMk id="16" creationId="{6F9F741B-8E68-5B29-BF01-A730C072293A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23.982" v="48"/>
          <ac:spMkLst>
            <pc:docMk/>
            <pc:sldMk cId="127179412" sldId="2142533206"/>
            <ac:spMk id="20" creationId="{60DF9843-B972-9E59-50F9-A542660B9EE1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23.982" v="51"/>
          <ac:spMkLst>
            <pc:docMk/>
            <pc:sldMk cId="127179412" sldId="2142533206"/>
            <ac:spMk id="23" creationId="{738AB1F5-7C8D-1361-F22E-B885BB9B5D0D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23.982" v="42"/>
          <ac:spMkLst>
            <pc:docMk/>
            <pc:sldMk cId="127179412" sldId="2142533206"/>
            <ac:spMk id="25" creationId="{8CD06B46-EDCF-8EC4-DDD2-0B90C5D5C905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23.982" v="49"/>
          <ac:spMkLst>
            <pc:docMk/>
            <pc:sldMk cId="127179412" sldId="2142533206"/>
            <ac:spMk id="27" creationId="{B8DB11DC-4867-7FA0-1FAD-EE51BC9E4BB5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23.982" v="50"/>
          <ac:spMkLst>
            <pc:docMk/>
            <pc:sldMk cId="127179412" sldId="2142533206"/>
            <ac:spMk id="28" creationId="{88C11C60-6BD9-F64A-1178-1123F1D76D75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23.982" v="47"/>
          <ac:spMkLst>
            <pc:docMk/>
            <pc:sldMk cId="127179412" sldId="2142533206"/>
            <ac:spMk id="47" creationId="{100440EB-CB18-1531-BC0A-A9E3582676E0}"/>
          </ac:spMkLst>
        </pc:spChg>
        <pc:spChg chg="mod">
          <ac:chgData name="Melaerts Frédéric" userId="S::frederic.melaerts@ond.vlaanderen.be::e63e2408-a9ae-43c8-8f5f-37811e9e956a" providerId="AD" clId="Web-{4D5F50BA-B452-0FB9-4BD2-110DEA40E143}" dt="2024-07-08T20:15:24.154" v="52"/>
          <ac:spMkLst>
            <pc:docMk/>
            <pc:sldMk cId="127179412" sldId="2142533206"/>
            <ac:spMk id="48" creationId="{5217D3FF-B237-143D-EAD7-97F7B0AF1B54}"/>
          </ac:spMkLst>
        </pc:spChg>
        <pc:graphicFrameChg chg="mod modGraphic">
          <ac:chgData name="Melaerts Frédéric" userId="S::frederic.melaerts@ond.vlaanderen.be::e63e2408-a9ae-43c8-8f5f-37811e9e956a" providerId="AD" clId="Web-{4D5F50BA-B452-0FB9-4BD2-110DEA40E143}" dt="2024-07-08T20:15:36.654" v="61"/>
          <ac:graphicFrameMkLst>
            <pc:docMk/>
            <pc:sldMk cId="127179412" sldId="2142533206"/>
            <ac:graphicFrameMk id="5" creationId="{A93C22A9-72D8-41DF-6A20-5AB4E1F84C2A}"/>
          </ac:graphicFrameMkLst>
        </pc:graphicFrameChg>
        <pc:graphicFrameChg chg="mod modGraphic">
          <ac:chgData name="Melaerts Frédéric" userId="S::frederic.melaerts@ond.vlaanderen.be::e63e2408-a9ae-43c8-8f5f-37811e9e956a" providerId="AD" clId="Web-{4D5F50BA-B452-0FB9-4BD2-110DEA40E143}" dt="2024-07-08T20:15:43.341" v="75"/>
          <ac:graphicFrameMkLst>
            <pc:docMk/>
            <pc:sldMk cId="127179412" sldId="2142533206"/>
            <ac:graphicFrameMk id="10" creationId="{6C4E63AD-3E37-4633-426E-B1EEF340DAAB}"/>
          </ac:graphicFrameMkLst>
        </pc:graphicFrameChg>
        <pc:graphicFrameChg chg="mod modGraphic">
          <ac:chgData name="Melaerts Frédéric" userId="S::frederic.melaerts@ond.vlaanderen.be::e63e2408-a9ae-43c8-8f5f-37811e9e956a" providerId="AD" clId="Web-{4D5F50BA-B452-0FB9-4BD2-110DEA40E143}" dt="2024-07-08T20:15:39.841" v="67"/>
          <ac:graphicFrameMkLst>
            <pc:docMk/>
            <pc:sldMk cId="127179412" sldId="2142533206"/>
            <ac:graphicFrameMk id="11" creationId="{11EF47BB-B737-746B-BB9E-A4133978AAD6}"/>
          </ac:graphicFrameMkLst>
        </pc:graphicFrameChg>
      </pc:sldChg>
    </pc:docChg>
  </pc:docChgLst>
  <pc:docChgLst>
    <pc:chgData name="Melaerts Frédéric" userId="S::frederic.melaerts@ond.vlaanderen.be::e63e2408-a9ae-43c8-8f5f-37811e9e956a" providerId="AD" clId="Web-{51F934D8-BB2E-6D74-5B31-8FCC0D3B9902}"/>
    <pc:docChg chg="addSld delSld modSld">
      <pc:chgData name="Melaerts Frédéric" userId="S::frederic.melaerts@ond.vlaanderen.be::e63e2408-a9ae-43c8-8f5f-37811e9e956a" providerId="AD" clId="Web-{51F934D8-BB2E-6D74-5B31-8FCC0D3B9902}" dt="2024-07-08T20:22:19.033" v="262"/>
      <pc:docMkLst>
        <pc:docMk/>
      </pc:docMkLst>
      <pc:sldChg chg="modSp">
        <pc:chgData name="Melaerts Frédéric" userId="S::frederic.melaerts@ond.vlaanderen.be::e63e2408-a9ae-43c8-8f5f-37811e9e956a" providerId="AD" clId="Web-{51F934D8-BB2E-6D74-5B31-8FCC0D3B9902}" dt="2024-07-08T20:16:21.694" v="1" actId="1076"/>
        <pc:sldMkLst>
          <pc:docMk/>
          <pc:sldMk cId="3396145674" sldId="2142533192"/>
        </pc:sldMkLst>
        <pc:spChg chg="mod">
          <ac:chgData name="Melaerts Frédéric" userId="S::frederic.melaerts@ond.vlaanderen.be::e63e2408-a9ae-43c8-8f5f-37811e9e956a" providerId="AD" clId="Web-{51F934D8-BB2E-6D74-5B31-8FCC0D3B9902}" dt="2024-07-08T20:16:21.694" v="1" actId="1076"/>
          <ac:spMkLst>
            <pc:docMk/>
            <pc:sldMk cId="3396145674" sldId="2142533192"/>
            <ac:spMk id="20" creationId="{52019464-F830-691A-5073-14FD4F803464}"/>
          </ac:spMkLst>
        </pc:spChg>
      </pc:sldChg>
      <pc:sldChg chg="addSp delSp modSp modTransition addAnim delAnim">
        <pc:chgData name="Melaerts Frédéric" userId="S::frederic.melaerts@ond.vlaanderen.be::e63e2408-a9ae-43c8-8f5f-37811e9e956a" providerId="AD" clId="Web-{51F934D8-BB2E-6D74-5B31-8FCC0D3B9902}" dt="2024-07-08T20:22:19.033" v="262"/>
        <pc:sldMkLst>
          <pc:docMk/>
          <pc:sldMk cId="1732030646" sldId="2142533196"/>
        </pc:sldMkLst>
        <pc:spChg chg="del">
          <ac:chgData name="Melaerts Frédéric" userId="S::frederic.melaerts@ond.vlaanderen.be::e63e2408-a9ae-43c8-8f5f-37811e9e956a" providerId="AD" clId="Web-{51F934D8-BB2E-6D74-5B31-8FCC0D3B9902}" dt="2024-07-08T20:18:34.409" v="23"/>
          <ac:spMkLst>
            <pc:docMk/>
            <pc:sldMk cId="1732030646" sldId="2142533196"/>
            <ac:spMk id="2" creationId="{7C811E99-F9F0-4692-BCDE-C6E08B217F96}"/>
          </ac:spMkLst>
        </pc:spChg>
        <pc:spChg chg="add del mod">
          <ac:chgData name="Melaerts Frédéric" userId="S::frederic.melaerts@ond.vlaanderen.be::e63e2408-a9ae-43c8-8f5f-37811e9e956a" providerId="AD" clId="Web-{51F934D8-BB2E-6D74-5B31-8FCC0D3B9902}" dt="2024-07-08T20:18:38.675" v="25"/>
          <ac:spMkLst>
            <pc:docMk/>
            <pc:sldMk cId="1732030646" sldId="2142533196"/>
            <ac:spMk id="4" creationId="{FDBC1706-B338-7618-16EE-F6307E344209}"/>
          </ac:spMkLst>
        </pc:spChg>
        <pc:spChg chg="add del">
          <ac:chgData name="Melaerts Frédéric" userId="S::frederic.melaerts@ond.vlaanderen.be::e63e2408-a9ae-43c8-8f5f-37811e9e956a" providerId="AD" clId="Web-{51F934D8-BB2E-6D74-5B31-8FCC0D3B9902}" dt="2024-07-08T20:19:59.662" v="132"/>
          <ac:spMkLst>
            <pc:docMk/>
            <pc:sldMk cId="1732030646" sldId="2142533196"/>
            <ac:spMk id="7" creationId="{FC52579D-01AC-89FE-462E-2A1E883ACA06}"/>
          </ac:spMkLst>
        </pc:spChg>
        <pc:spChg chg="del">
          <ac:chgData name="Melaerts Frédéric" userId="S::frederic.melaerts@ond.vlaanderen.be::e63e2408-a9ae-43c8-8f5f-37811e9e956a" providerId="AD" clId="Web-{51F934D8-BB2E-6D74-5B31-8FCC0D3B9902}" dt="2024-07-08T20:19:48.208" v="100"/>
          <ac:spMkLst>
            <pc:docMk/>
            <pc:sldMk cId="1732030646" sldId="2142533196"/>
            <ac:spMk id="8" creationId="{2C267321-14F9-A7FE-5B5E-71A52B1F0068}"/>
          </ac:spMkLst>
        </pc:spChg>
        <pc:spChg chg="del">
          <ac:chgData name="Melaerts Frédéric" userId="S::frederic.melaerts@ond.vlaanderen.be::e63e2408-a9ae-43c8-8f5f-37811e9e956a" providerId="AD" clId="Web-{51F934D8-BB2E-6D74-5B31-8FCC0D3B9902}" dt="2024-07-08T20:17:43.861" v="22"/>
          <ac:spMkLst>
            <pc:docMk/>
            <pc:sldMk cId="1732030646" sldId="2142533196"/>
            <ac:spMk id="9" creationId="{420C4F04-6272-B1AB-4FFC-6AA6B9B29806}"/>
          </ac:spMkLst>
        </pc:spChg>
        <pc:spChg chg="add del mod">
          <ac:chgData name="Melaerts Frédéric" userId="S::frederic.melaerts@ond.vlaanderen.be::e63e2408-a9ae-43c8-8f5f-37811e9e956a" providerId="AD" clId="Web-{51F934D8-BB2E-6D74-5B31-8FCC0D3B9902}" dt="2024-07-08T20:19:09.613" v="82"/>
          <ac:spMkLst>
            <pc:docMk/>
            <pc:sldMk cId="1732030646" sldId="2142533196"/>
            <ac:spMk id="11" creationId="{F1F5FBF7-2F7C-8372-148A-5B72266916BB}"/>
          </ac:spMkLst>
        </pc:spChg>
        <pc:spChg chg="add del">
          <ac:chgData name="Melaerts Frédéric" userId="S::frederic.melaerts@ond.vlaanderen.be::e63e2408-a9ae-43c8-8f5f-37811e9e956a" providerId="AD" clId="Web-{51F934D8-BB2E-6D74-5B31-8FCC0D3B9902}" dt="2024-07-08T20:19:09.613" v="80"/>
          <ac:spMkLst>
            <pc:docMk/>
            <pc:sldMk cId="1732030646" sldId="2142533196"/>
            <ac:spMk id="15" creationId="{623987F2-5A46-35FC-9EC9-951AAAF546DE}"/>
          </ac:spMkLst>
        </pc:spChg>
        <pc:spChg chg="add del">
          <ac:chgData name="Melaerts Frédéric" userId="S::frederic.melaerts@ond.vlaanderen.be::e63e2408-a9ae-43c8-8f5f-37811e9e956a" providerId="AD" clId="Web-{51F934D8-BB2E-6D74-5B31-8FCC0D3B9902}" dt="2024-07-08T20:19:09.613" v="79"/>
          <ac:spMkLst>
            <pc:docMk/>
            <pc:sldMk cId="1732030646" sldId="2142533196"/>
            <ac:spMk id="17" creationId="{E67805E2-53DE-1854-1D27-9D564ED54F0A}"/>
          </ac:spMkLst>
        </pc:spChg>
        <pc:spChg chg="del mod">
          <ac:chgData name="Melaerts Frédéric" userId="S::frederic.melaerts@ond.vlaanderen.be::e63e2408-a9ae-43c8-8f5f-37811e9e956a" providerId="AD" clId="Web-{51F934D8-BB2E-6D74-5B31-8FCC0D3B9902}" dt="2024-07-08T20:19:46.755" v="99"/>
          <ac:spMkLst>
            <pc:docMk/>
            <pc:sldMk cId="1732030646" sldId="2142533196"/>
            <ac:spMk id="18" creationId="{9CC76AF9-B319-01C2-CE90-94D4C2D57382}"/>
          </ac:spMkLst>
        </pc:spChg>
        <pc:spChg chg="del">
          <ac:chgData name="Melaerts Frédéric" userId="S::frederic.melaerts@ond.vlaanderen.be::e63e2408-a9ae-43c8-8f5f-37811e9e956a" providerId="AD" clId="Web-{51F934D8-BB2E-6D74-5B31-8FCC0D3B9902}" dt="2024-07-08T20:19:49.630" v="105"/>
          <ac:spMkLst>
            <pc:docMk/>
            <pc:sldMk cId="1732030646" sldId="2142533196"/>
            <ac:spMk id="20" creationId="{4FAF88D9-2D67-E18D-90C7-973712AA3576}"/>
          </ac:spMkLst>
        </pc:spChg>
        <pc:spChg chg="add del">
          <ac:chgData name="Melaerts Frédéric" userId="S::frederic.melaerts@ond.vlaanderen.be::e63e2408-a9ae-43c8-8f5f-37811e9e956a" providerId="AD" clId="Web-{51F934D8-BB2E-6D74-5B31-8FCC0D3B9902}" dt="2024-07-08T20:19:09.613" v="78"/>
          <ac:spMkLst>
            <pc:docMk/>
            <pc:sldMk cId="1732030646" sldId="2142533196"/>
            <ac:spMk id="21" creationId="{F0D8AB0F-C625-1D6F-F0CC-B3FC5BFB230C}"/>
          </ac:spMkLst>
        </pc:spChg>
        <pc:spChg chg="del mod">
          <ac:chgData name="Melaerts Frédéric" userId="S::frederic.melaerts@ond.vlaanderen.be::e63e2408-a9ae-43c8-8f5f-37811e9e956a" providerId="AD" clId="Web-{51F934D8-BB2E-6D74-5B31-8FCC0D3B9902}" dt="2024-07-08T20:20:15.605" v="149"/>
          <ac:spMkLst>
            <pc:docMk/>
            <pc:sldMk cId="1732030646" sldId="2142533196"/>
            <ac:spMk id="23" creationId="{2B8F2DF7-DF62-9037-9B4C-85128E799C4F}"/>
          </ac:spMkLst>
        </pc:spChg>
        <pc:spChg chg="add del">
          <ac:chgData name="Melaerts Frédéric" userId="S::frederic.melaerts@ond.vlaanderen.be::e63e2408-a9ae-43c8-8f5f-37811e9e956a" providerId="AD" clId="Web-{51F934D8-BB2E-6D74-5B31-8FCC0D3B9902}" dt="2024-07-08T20:19:09.598" v="77"/>
          <ac:spMkLst>
            <pc:docMk/>
            <pc:sldMk cId="1732030646" sldId="2142533196"/>
            <ac:spMk id="24" creationId="{D04B9C1E-7E4A-B1F9-8337-66ABDA32FBFE}"/>
          </ac:spMkLst>
        </pc:spChg>
        <pc:spChg chg="add del">
          <ac:chgData name="Melaerts Frédéric" userId="S::frederic.melaerts@ond.vlaanderen.be::e63e2408-a9ae-43c8-8f5f-37811e9e956a" providerId="AD" clId="Web-{51F934D8-BB2E-6D74-5B31-8FCC0D3B9902}" dt="2024-07-08T20:19:59.662" v="138"/>
          <ac:spMkLst>
            <pc:docMk/>
            <pc:sldMk cId="1732030646" sldId="2142533196"/>
            <ac:spMk id="25" creationId="{20B88E45-6CF5-5922-59C5-9B9F5B67BC00}"/>
          </ac:spMkLst>
        </pc:spChg>
        <pc:spChg chg="del mod">
          <ac:chgData name="Melaerts Frédéric" userId="S::frederic.melaerts@ond.vlaanderen.be::e63e2408-a9ae-43c8-8f5f-37811e9e956a" providerId="AD" clId="Web-{51F934D8-BB2E-6D74-5B31-8FCC0D3B9902}" dt="2024-07-08T20:20:09.792" v="145"/>
          <ac:spMkLst>
            <pc:docMk/>
            <pc:sldMk cId="1732030646" sldId="2142533196"/>
            <ac:spMk id="26" creationId="{7824C48B-78A4-DDE3-9FC5-E264BAE08940}"/>
          </ac:spMkLst>
        </pc:spChg>
        <pc:spChg chg="add del">
          <ac:chgData name="Melaerts Frédéric" userId="S::frederic.melaerts@ond.vlaanderen.be::e63e2408-a9ae-43c8-8f5f-37811e9e956a" providerId="AD" clId="Web-{51F934D8-BB2E-6D74-5B31-8FCC0D3B9902}" dt="2024-07-08T20:19:09.598" v="76"/>
          <ac:spMkLst>
            <pc:docMk/>
            <pc:sldMk cId="1732030646" sldId="2142533196"/>
            <ac:spMk id="32" creationId="{5982D431-D204-8127-7A9D-987323E64CBC}"/>
          </ac:spMkLst>
        </pc:spChg>
        <pc:spChg chg="add del">
          <ac:chgData name="Melaerts Frédéric" userId="S::frederic.melaerts@ond.vlaanderen.be::e63e2408-a9ae-43c8-8f5f-37811e9e956a" providerId="AD" clId="Web-{51F934D8-BB2E-6D74-5B31-8FCC0D3B9902}" dt="2024-07-08T20:19:09.598" v="75"/>
          <ac:spMkLst>
            <pc:docMk/>
            <pc:sldMk cId="1732030646" sldId="2142533196"/>
            <ac:spMk id="34" creationId="{7154CA70-AE3B-F208-EEF7-2599DF87999B}"/>
          </ac:spMkLst>
        </pc:spChg>
        <pc:spChg chg="add del">
          <ac:chgData name="Melaerts Frédéric" userId="S::frederic.melaerts@ond.vlaanderen.be::e63e2408-a9ae-43c8-8f5f-37811e9e956a" providerId="AD" clId="Web-{51F934D8-BB2E-6D74-5B31-8FCC0D3B9902}" dt="2024-07-08T20:19:09.598" v="74"/>
          <ac:spMkLst>
            <pc:docMk/>
            <pc:sldMk cId="1732030646" sldId="2142533196"/>
            <ac:spMk id="36" creationId="{72D1BD7E-CC8E-11D6-A4AF-D43509A75F60}"/>
          </ac:spMkLst>
        </pc:spChg>
        <pc:spChg chg="add del">
          <ac:chgData name="Melaerts Frédéric" userId="S::frederic.melaerts@ond.vlaanderen.be::e63e2408-a9ae-43c8-8f5f-37811e9e956a" providerId="AD" clId="Web-{51F934D8-BB2E-6D74-5B31-8FCC0D3B9902}" dt="2024-07-08T20:19:09.598" v="73"/>
          <ac:spMkLst>
            <pc:docMk/>
            <pc:sldMk cId="1732030646" sldId="2142533196"/>
            <ac:spMk id="38" creationId="{C85153E4-C044-4257-6C1A-1E9D94A35986}"/>
          </ac:spMkLst>
        </pc:spChg>
        <pc:spChg chg="add del">
          <ac:chgData name="Melaerts Frédéric" userId="S::frederic.melaerts@ond.vlaanderen.be::e63e2408-a9ae-43c8-8f5f-37811e9e956a" providerId="AD" clId="Web-{51F934D8-BB2E-6D74-5B31-8FCC0D3B9902}" dt="2024-07-08T20:19:59.662" v="137"/>
          <ac:spMkLst>
            <pc:docMk/>
            <pc:sldMk cId="1732030646" sldId="2142533196"/>
            <ac:spMk id="1024" creationId="{E51659F8-1FB8-DB52-2824-51D1E1C1D362}"/>
          </ac:spMkLst>
        </pc:spChg>
        <pc:spChg chg="del mod">
          <ac:chgData name="Melaerts Frédéric" userId="S::frederic.melaerts@ond.vlaanderen.be::e63e2408-a9ae-43c8-8f5f-37811e9e956a" providerId="AD" clId="Web-{51F934D8-BB2E-6D74-5B31-8FCC0D3B9902}" dt="2024-07-08T20:20:09.792" v="144"/>
          <ac:spMkLst>
            <pc:docMk/>
            <pc:sldMk cId="1732030646" sldId="2142533196"/>
            <ac:spMk id="1025" creationId="{64D11885-4ECD-28FE-D708-A1069CCD01DD}"/>
          </ac:spMkLst>
        </pc:spChg>
        <pc:spChg chg="add del mod">
          <ac:chgData name="Melaerts Frédéric" userId="S::frederic.melaerts@ond.vlaanderen.be::e63e2408-a9ae-43c8-8f5f-37811e9e956a" providerId="AD" clId="Web-{51F934D8-BB2E-6D74-5B31-8FCC0D3B9902}" dt="2024-07-08T20:20:41.793" v="233"/>
          <ac:spMkLst>
            <pc:docMk/>
            <pc:sldMk cId="1732030646" sldId="2142533196"/>
            <ac:spMk id="1059" creationId="{933EBDE3-8EBD-C739-4B70-768BDF7BE249}"/>
          </ac:spMkLst>
        </pc:spChg>
        <pc:spChg chg="add del mod">
          <ac:chgData name="Melaerts Frédéric" userId="S::frederic.melaerts@ond.vlaanderen.be::e63e2408-a9ae-43c8-8f5f-37811e9e956a" providerId="AD" clId="Web-{51F934D8-BB2E-6D74-5B31-8FCC0D3B9902}" dt="2024-07-08T20:20:40.512" v="232"/>
          <ac:spMkLst>
            <pc:docMk/>
            <pc:sldMk cId="1732030646" sldId="2142533196"/>
            <ac:spMk id="1060" creationId="{80297D4A-70F8-B6C2-2A17-B7846C69B47C}"/>
          </ac:spMkLst>
        </pc:spChg>
        <pc:spChg chg="add del mod">
          <ac:chgData name="Melaerts Frédéric" userId="S::frederic.melaerts@ond.vlaanderen.be::e63e2408-a9ae-43c8-8f5f-37811e9e956a" providerId="AD" clId="Web-{51F934D8-BB2E-6D74-5B31-8FCC0D3B9902}" dt="2024-07-08T20:19:49.630" v="101"/>
          <ac:spMkLst>
            <pc:docMk/>
            <pc:sldMk cId="1732030646" sldId="2142533196"/>
            <ac:spMk id="1062" creationId="{B58B017F-D8CF-1BB2-7BC6-446E03302060}"/>
          </ac:spMkLst>
        </pc:spChg>
        <pc:spChg chg="add mod">
          <ac:chgData name="Melaerts Frédéric" userId="S::frederic.melaerts@ond.vlaanderen.be::e63e2408-a9ae-43c8-8f5f-37811e9e956a" providerId="AD" clId="Web-{51F934D8-BB2E-6D74-5B31-8FCC0D3B9902}" dt="2024-07-08T20:20:22.730" v="150"/>
          <ac:spMkLst>
            <pc:docMk/>
            <pc:sldMk cId="1732030646" sldId="2142533196"/>
            <ac:spMk id="1064" creationId="{46E48977-852B-A84D-EB5E-113729312138}"/>
          </ac:spMkLst>
        </pc:spChg>
        <pc:spChg chg="add mod">
          <ac:chgData name="Melaerts Frédéric" userId="S::frederic.melaerts@ond.vlaanderen.be::e63e2408-a9ae-43c8-8f5f-37811e9e956a" providerId="AD" clId="Web-{51F934D8-BB2E-6D74-5B31-8FCC0D3B9902}" dt="2024-07-08T20:20:37.965" v="206" actId="1076"/>
          <ac:spMkLst>
            <pc:docMk/>
            <pc:sldMk cId="1732030646" sldId="2142533196"/>
            <ac:spMk id="1068" creationId="{8655E20D-FD71-B43D-AD40-16B760B8C1AB}"/>
          </ac:spMkLst>
        </pc:spChg>
        <pc:spChg chg="add mod">
          <ac:chgData name="Melaerts Frédéric" userId="S::frederic.melaerts@ond.vlaanderen.be::e63e2408-a9ae-43c8-8f5f-37811e9e956a" providerId="AD" clId="Web-{51F934D8-BB2E-6D74-5B31-8FCC0D3B9902}" dt="2024-07-08T20:20:37.965" v="207" actId="1076"/>
          <ac:spMkLst>
            <pc:docMk/>
            <pc:sldMk cId="1732030646" sldId="2142533196"/>
            <ac:spMk id="1070" creationId="{514D0606-0590-AE0C-A80F-47E7C0B43F75}"/>
          </ac:spMkLst>
        </pc:spChg>
        <pc:spChg chg="add mod">
          <ac:chgData name="Melaerts Frédéric" userId="S::frederic.melaerts@ond.vlaanderen.be::e63e2408-a9ae-43c8-8f5f-37811e9e956a" providerId="AD" clId="Web-{51F934D8-BB2E-6D74-5B31-8FCC0D3B9902}" dt="2024-07-08T20:20:37.980" v="208" actId="1076"/>
          <ac:spMkLst>
            <pc:docMk/>
            <pc:sldMk cId="1732030646" sldId="2142533196"/>
            <ac:spMk id="1072" creationId="{789AE15C-DED4-87DE-9988-43D0BA9B3871}"/>
          </ac:spMkLst>
        </pc:spChg>
        <pc:spChg chg="add mod">
          <ac:chgData name="Melaerts Frédéric" userId="S::frederic.melaerts@ond.vlaanderen.be::e63e2408-a9ae-43c8-8f5f-37811e9e956a" providerId="AD" clId="Web-{51F934D8-BB2E-6D74-5B31-8FCC0D3B9902}" dt="2024-07-08T20:20:37.996" v="209" actId="1076"/>
          <ac:spMkLst>
            <pc:docMk/>
            <pc:sldMk cId="1732030646" sldId="2142533196"/>
            <ac:spMk id="1075" creationId="{78F542A9-4DA9-CC2A-45FB-D9F9AC5EA541}"/>
          </ac:spMkLst>
        </pc:spChg>
        <pc:spChg chg="add mod">
          <ac:chgData name="Melaerts Frédéric" userId="S::frederic.melaerts@ond.vlaanderen.be::e63e2408-a9ae-43c8-8f5f-37811e9e956a" providerId="AD" clId="Web-{51F934D8-BB2E-6D74-5B31-8FCC0D3B9902}" dt="2024-07-08T20:20:37.996" v="210" actId="1076"/>
          <ac:spMkLst>
            <pc:docMk/>
            <pc:sldMk cId="1732030646" sldId="2142533196"/>
            <ac:spMk id="1077" creationId="{3E5B16A0-9F72-B407-035C-3588A8B3221D}"/>
          </ac:spMkLst>
        </pc:spChg>
        <pc:spChg chg="add mod">
          <ac:chgData name="Melaerts Frédéric" userId="S::frederic.melaerts@ond.vlaanderen.be::e63e2408-a9ae-43c8-8f5f-37811e9e956a" providerId="AD" clId="Web-{51F934D8-BB2E-6D74-5B31-8FCC0D3B9902}" dt="2024-07-08T20:20:38.012" v="211" actId="1076"/>
          <ac:spMkLst>
            <pc:docMk/>
            <pc:sldMk cId="1732030646" sldId="2142533196"/>
            <ac:spMk id="1079" creationId="{40A80EF9-2675-D242-79C0-C9CE69807EB6}"/>
          </ac:spMkLst>
        </pc:spChg>
        <pc:spChg chg="add mod">
          <ac:chgData name="Melaerts Frédéric" userId="S::frederic.melaerts@ond.vlaanderen.be::e63e2408-a9ae-43c8-8f5f-37811e9e956a" providerId="AD" clId="Web-{51F934D8-BB2E-6D74-5B31-8FCC0D3B9902}" dt="2024-07-08T20:20:38.027" v="212" actId="1076"/>
          <ac:spMkLst>
            <pc:docMk/>
            <pc:sldMk cId="1732030646" sldId="2142533196"/>
            <ac:spMk id="1081" creationId="{1007B68F-30FF-783B-65CB-08A77A4C8298}"/>
          </ac:spMkLst>
        </pc:spChg>
        <pc:spChg chg="add mod">
          <ac:chgData name="Melaerts Frédéric" userId="S::frederic.melaerts@ond.vlaanderen.be::e63e2408-a9ae-43c8-8f5f-37811e9e956a" providerId="AD" clId="Web-{51F934D8-BB2E-6D74-5B31-8FCC0D3B9902}" dt="2024-07-08T20:20:38.027" v="213" actId="1076"/>
          <ac:spMkLst>
            <pc:docMk/>
            <pc:sldMk cId="1732030646" sldId="2142533196"/>
            <ac:spMk id="1083" creationId="{F8E28482-CB8A-3FB3-8FEB-B8ECC3DE4307}"/>
          </ac:spMkLst>
        </pc:spChg>
        <pc:graphicFrameChg chg="del">
          <ac:chgData name="Melaerts Frédéric" userId="S::frederic.melaerts@ond.vlaanderen.be::e63e2408-a9ae-43c8-8f5f-37811e9e956a" providerId="AD" clId="Web-{51F934D8-BB2E-6D74-5B31-8FCC0D3B9902}" dt="2024-07-08T20:19:41.271" v="95"/>
          <ac:graphicFrameMkLst>
            <pc:docMk/>
            <pc:sldMk cId="1732030646" sldId="2142533196"/>
            <ac:graphicFrameMk id="6" creationId="{1A98B3EF-D9DF-4D4B-A1F2-A4547A64D87E}"/>
          </ac:graphicFrameMkLst>
        </pc:graphicFrameChg>
        <pc:graphicFrameChg chg="add del">
          <ac:chgData name="Melaerts Frédéric" userId="S::frederic.melaerts@ond.vlaanderen.be::e63e2408-a9ae-43c8-8f5f-37811e9e956a" providerId="AD" clId="Web-{51F934D8-BB2E-6D74-5B31-8FCC0D3B9902}" dt="2024-07-08T20:19:09.613" v="81"/>
          <ac:graphicFrameMkLst>
            <pc:docMk/>
            <pc:sldMk cId="1732030646" sldId="2142533196"/>
            <ac:graphicFrameMk id="13" creationId="{52D44680-BE91-2D4A-62A4-705B45895B32}"/>
          </ac:graphicFrameMkLst>
        </pc:graphicFrameChg>
        <pc:graphicFrameChg chg="add mod">
          <ac:chgData name="Melaerts Frédéric" userId="S::frederic.melaerts@ond.vlaanderen.be::e63e2408-a9ae-43c8-8f5f-37811e9e956a" providerId="AD" clId="Web-{51F934D8-BB2E-6D74-5B31-8FCC0D3B9902}" dt="2024-07-08T20:20:37.949" v="205" actId="1076"/>
          <ac:graphicFrameMkLst>
            <pc:docMk/>
            <pc:sldMk cId="1732030646" sldId="2142533196"/>
            <ac:graphicFrameMk id="1066" creationId="{C14276E6-0544-2F2F-0A64-D037DB3CB2FC}"/>
          </ac:graphicFrameMkLst>
        </pc:graphicFrameChg>
        <pc:picChg chg="add del">
          <ac:chgData name="Melaerts Frédéric" userId="S::frederic.melaerts@ond.vlaanderen.be::e63e2408-a9ae-43c8-8f5f-37811e9e956a" providerId="AD" clId="Web-{51F934D8-BB2E-6D74-5B31-8FCC0D3B9902}" dt="2024-07-08T20:19:09.598" v="72"/>
          <ac:picMkLst>
            <pc:docMk/>
            <pc:sldMk cId="1732030646" sldId="2142533196"/>
            <ac:picMk id="40" creationId="{1D62DC27-87FB-EA34-4352-CAE06AEA3C52}"/>
          </ac:picMkLst>
        </pc:picChg>
        <pc:picChg chg="add del">
          <ac:chgData name="Melaerts Frédéric" userId="S::frederic.melaerts@ond.vlaanderen.be::e63e2408-a9ae-43c8-8f5f-37811e9e956a" providerId="AD" clId="Web-{51F934D8-BB2E-6D74-5B31-8FCC0D3B9902}" dt="2024-07-08T20:19:09.598" v="71"/>
          <ac:picMkLst>
            <pc:docMk/>
            <pc:sldMk cId="1732030646" sldId="2142533196"/>
            <ac:picMk id="42" creationId="{499E6DD2-7221-D9CC-21EF-9B68BC626335}"/>
          </ac:picMkLst>
        </pc:picChg>
        <pc:picChg chg="add del">
          <ac:chgData name="Melaerts Frédéric" userId="S::frederic.melaerts@ond.vlaanderen.be::e63e2408-a9ae-43c8-8f5f-37811e9e956a" providerId="AD" clId="Web-{51F934D8-BB2E-6D74-5B31-8FCC0D3B9902}" dt="2024-07-08T20:19:09.598" v="70"/>
          <ac:picMkLst>
            <pc:docMk/>
            <pc:sldMk cId="1732030646" sldId="2142533196"/>
            <ac:picMk id="44" creationId="{75D64817-66D4-C848-7E15-5028BD8C56B9}"/>
          </ac:picMkLst>
        </pc:picChg>
        <pc:picChg chg="add del">
          <ac:chgData name="Melaerts Frédéric" userId="S::frederic.melaerts@ond.vlaanderen.be::e63e2408-a9ae-43c8-8f5f-37811e9e956a" providerId="AD" clId="Web-{51F934D8-BB2E-6D74-5B31-8FCC0D3B9902}" dt="2024-07-08T20:19:09.598" v="69"/>
          <ac:picMkLst>
            <pc:docMk/>
            <pc:sldMk cId="1732030646" sldId="2142533196"/>
            <ac:picMk id="46" creationId="{607861BD-A79E-C1DC-B31F-3FE876A70C73}"/>
          </ac:picMkLst>
        </pc:picChg>
        <pc:picChg chg="del">
          <ac:chgData name="Melaerts Frédéric" userId="S::frederic.melaerts@ond.vlaanderen.be::e63e2408-a9ae-43c8-8f5f-37811e9e956a" providerId="AD" clId="Web-{51F934D8-BB2E-6D74-5B31-8FCC0D3B9902}" dt="2024-07-08T20:19:44.177" v="97"/>
          <ac:picMkLst>
            <pc:docMk/>
            <pc:sldMk cId="1732030646" sldId="2142533196"/>
            <ac:picMk id="1027" creationId="{AC8E27D7-9B7E-0C04-516A-E227C7821BE6}"/>
          </ac:picMkLst>
        </pc:picChg>
        <pc:picChg chg="del">
          <ac:chgData name="Melaerts Frédéric" userId="S::frederic.melaerts@ond.vlaanderen.be::e63e2408-a9ae-43c8-8f5f-37811e9e956a" providerId="AD" clId="Web-{51F934D8-BB2E-6D74-5B31-8FCC0D3B9902}" dt="2024-07-08T20:19:49.630" v="104"/>
          <ac:picMkLst>
            <pc:docMk/>
            <pc:sldMk cId="1732030646" sldId="2142533196"/>
            <ac:picMk id="1028" creationId="{31C3E491-AF4C-D866-B96E-74CD63BA00E4}"/>
          </ac:picMkLst>
        </pc:picChg>
        <pc:picChg chg="add del">
          <ac:chgData name="Melaerts Frédéric" userId="S::frederic.melaerts@ond.vlaanderen.be::e63e2408-a9ae-43c8-8f5f-37811e9e956a" providerId="AD" clId="Web-{51F934D8-BB2E-6D74-5B31-8FCC0D3B9902}" dt="2024-07-08T20:19:59.662" v="136"/>
          <ac:picMkLst>
            <pc:docMk/>
            <pc:sldMk cId="1732030646" sldId="2142533196"/>
            <ac:picMk id="1029" creationId="{BAC22C47-7A31-60DB-7301-BCA90236CE4A}"/>
          </ac:picMkLst>
        </pc:picChg>
        <pc:picChg chg="add mod">
          <ac:chgData name="Melaerts Frédéric" userId="S::frederic.melaerts@ond.vlaanderen.be::e63e2408-a9ae-43c8-8f5f-37811e9e956a" providerId="AD" clId="Web-{51F934D8-BB2E-6D74-5B31-8FCC0D3B9902}" dt="2024-07-08T20:20:38.043" v="214" actId="1076"/>
          <ac:picMkLst>
            <pc:docMk/>
            <pc:sldMk cId="1732030646" sldId="2142533196"/>
            <ac:picMk id="1086" creationId="{84C80D8A-C240-915B-208A-2FF9F63CFF17}"/>
          </ac:picMkLst>
        </pc:picChg>
        <pc:picChg chg="add mod">
          <ac:chgData name="Melaerts Frédéric" userId="S::frederic.melaerts@ond.vlaanderen.be::e63e2408-a9ae-43c8-8f5f-37811e9e956a" providerId="AD" clId="Web-{51F934D8-BB2E-6D74-5B31-8FCC0D3B9902}" dt="2024-07-08T20:20:38.058" v="215" actId="1076"/>
          <ac:picMkLst>
            <pc:docMk/>
            <pc:sldMk cId="1732030646" sldId="2142533196"/>
            <ac:picMk id="1089" creationId="{C98A15D7-14D3-374D-C939-8AB27868ACD7}"/>
          </ac:picMkLst>
        </pc:picChg>
        <pc:picChg chg="add mod">
          <ac:chgData name="Melaerts Frédéric" userId="S::frederic.melaerts@ond.vlaanderen.be::e63e2408-a9ae-43c8-8f5f-37811e9e956a" providerId="AD" clId="Web-{51F934D8-BB2E-6D74-5B31-8FCC0D3B9902}" dt="2024-07-08T20:20:38.058" v="216" actId="1076"/>
          <ac:picMkLst>
            <pc:docMk/>
            <pc:sldMk cId="1732030646" sldId="2142533196"/>
            <ac:picMk id="1092" creationId="{63273C5A-5461-D51B-7211-7AD764A10E86}"/>
          </ac:picMkLst>
        </pc:picChg>
        <pc:picChg chg="add mod">
          <ac:chgData name="Melaerts Frédéric" userId="S::frederic.melaerts@ond.vlaanderen.be::e63e2408-a9ae-43c8-8f5f-37811e9e956a" providerId="AD" clId="Web-{51F934D8-BB2E-6D74-5B31-8FCC0D3B9902}" dt="2024-07-08T20:20:38.074" v="217" actId="1076"/>
          <ac:picMkLst>
            <pc:docMk/>
            <pc:sldMk cId="1732030646" sldId="2142533196"/>
            <ac:picMk id="1094" creationId="{8F4D6BD9-7273-F2AF-7BC1-55AA36F359B9}"/>
          </ac:picMkLst>
        </pc:picChg>
        <pc:cxnChg chg="add del">
          <ac:chgData name="Melaerts Frédéric" userId="S::frederic.melaerts@ond.vlaanderen.be::e63e2408-a9ae-43c8-8f5f-37811e9e956a" providerId="AD" clId="Web-{51F934D8-BB2E-6D74-5B31-8FCC0D3B9902}" dt="2024-07-08T20:19:09.582" v="68"/>
          <ac:cxnSpMkLst>
            <pc:docMk/>
            <pc:sldMk cId="1732030646" sldId="2142533196"/>
            <ac:cxnSpMk id="48" creationId="{D9318680-8388-7FC0-900A-9671F2FB9369}"/>
          </ac:cxnSpMkLst>
        </pc:cxnChg>
        <pc:cxnChg chg="add del">
          <ac:chgData name="Melaerts Frédéric" userId="S::frederic.melaerts@ond.vlaanderen.be::e63e2408-a9ae-43c8-8f5f-37811e9e956a" providerId="AD" clId="Web-{51F934D8-BB2E-6D74-5B31-8FCC0D3B9902}" dt="2024-07-08T20:19:09.582" v="67"/>
          <ac:cxnSpMkLst>
            <pc:docMk/>
            <pc:sldMk cId="1732030646" sldId="2142533196"/>
            <ac:cxnSpMk id="50" creationId="{6E28F5BF-C75D-F95D-468D-BE88324AC3C4}"/>
          </ac:cxnSpMkLst>
        </pc:cxnChg>
        <pc:cxnChg chg="add del">
          <ac:chgData name="Melaerts Frédéric" userId="S::frederic.melaerts@ond.vlaanderen.be::e63e2408-a9ae-43c8-8f5f-37811e9e956a" providerId="AD" clId="Web-{51F934D8-BB2E-6D74-5B31-8FCC0D3B9902}" dt="2024-07-08T20:19:09.582" v="66"/>
          <ac:cxnSpMkLst>
            <pc:docMk/>
            <pc:sldMk cId="1732030646" sldId="2142533196"/>
            <ac:cxnSpMk id="52" creationId="{916C4D52-8F53-8054-D5BE-83A5498F8169}"/>
          </ac:cxnSpMkLst>
        </pc:cxnChg>
        <pc:cxnChg chg="add del">
          <ac:chgData name="Melaerts Frédéric" userId="S::frederic.melaerts@ond.vlaanderen.be::e63e2408-a9ae-43c8-8f5f-37811e9e956a" providerId="AD" clId="Web-{51F934D8-BB2E-6D74-5B31-8FCC0D3B9902}" dt="2024-07-08T20:19:09.582" v="65"/>
          <ac:cxnSpMkLst>
            <pc:docMk/>
            <pc:sldMk cId="1732030646" sldId="2142533196"/>
            <ac:cxnSpMk id="54" creationId="{DE8FA33D-3284-2B68-2A05-98668940D579}"/>
          </ac:cxnSpMkLst>
        </pc:cxnChg>
        <pc:cxnChg chg="add del">
          <ac:chgData name="Melaerts Frédéric" userId="S::frederic.melaerts@ond.vlaanderen.be::e63e2408-a9ae-43c8-8f5f-37811e9e956a" providerId="AD" clId="Web-{51F934D8-BB2E-6D74-5B31-8FCC0D3B9902}" dt="2024-07-08T20:19:09.582" v="64"/>
          <ac:cxnSpMkLst>
            <pc:docMk/>
            <pc:sldMk cId="1732030646" sldId="2142533196"/>
            <ac:cxnSpMk id="56" creationId="{0C8DAB2B-941F-4B0C-FE8D-162D88423D16}"/>
          </ac:cxnSpMkLst>
        </pc:cxnChg>
        <pc:cxnChg chg="add del">
          <ac:chgData name="Melaerts Frédéric" userId="S::frederic.melaerts@ond.vlaanderen.be::e63e2408-a9ae-43c8-8f5f-37811e9e956a" providerId="AD" clId="Web-{51F934D8-BB2E-6D74-5B31-8FCC0D3B9902}" dt="2024-07-08T20:19:09.582" v="63"/>
          <ac:cxnSpMkLst>
            <pc:docMk/>
            <pc:sldMk cId="1732030646" sldId="2142533196"/>
            <ac:cxnSpMk id="58" creationId="{37DD7B38-6B05-F785-63B5-79DE92993ACF}"/>
          </ac:cxnSpMkLst>
        </pc:cxnChg>
        <pc:cxnChg chg="add del">
          <ac:chgData name="Melaerts Frédéric" userId="S::frederic.melaerts@ond.vlaanderen.be::e63e2408-a9ae-43c8-8f5f-37811e9e956a" providerId="AD" clId="Web-{51F934D8-BB2E-6D74-5B31-8FCC0D3B9902}" dt="2024-07-08T20:19:09.582" v="62"/>
          <ac:cxnSpMkLst>
            <pc:docMk/>
            <pc:sldMk cId="1732030646" sldId="2142533196"/>
            <ac:cxnSpMk id="60" creationId="{D4F9AC55-4876-13EA-0B5C-6AADDA536BD8}"/>
          </ac:cxnSpMkLst>
        </pc:cxnChg>
        <pc:cxnChg chg="add del">
          <ac:chgData name="Melaerts Frédéric" userId="S::frederic.melaerts@ond.vlaanderen.be::e63e2408-a9ae-43c8-8f5f-37811e9e956a" providerId="AD" clId="Web-{51F934D8-BB2E-6D74-5B31-8FCC0D3B9902}" dt="2024-07-08T20:19:09.582" v="61"/>
          <ac:cxnSpMkLst>
            <pc:docMk/>
            <pc:sldMk cId="1732030646" sldId="2142533196"/>
            <ac:cxnSpMk id="62" creationId="{2AC81BFD-A052-D660-BA2C-8E1B7B71FDCF}"/>
          </ac:cxnSpMkLst>
        </pc:cxnChg>
        <pc:cxnChg chg="del">
          <ac:chgData name="Melaerts Frédéric" userId="S::frederic.melaerts@ond.vlaanderen.be::e63e2408-a9ae-43c8-8f5f-37811e9e956a" providerId="AD" clId="Web-{51F934D8-BB2E-6D74-5B31-8FCC0D3B9902}" dt="2024-07-08T20:20:14.339" v="148"/>
          <ac:cxnSpMkLst>
            <pc:docMk/>
            <pc:sldMk cId="1732030646" sldId="2142533196"/>
            <ac:cxnSpMk id="1030" creationId="{D8F98D54-1FB0-131C-A7B3-72123C86CB6C}"/>
          </ac:cxnSpMkLst>
        </pc:cxnChg>
        <pc:cxnChg chg="del">
          <ac:chgData name="Melaerts Frédéric" userId="S::frederic.melaerts@ond.vlaanderen.be::e63e2408-a9ae-43c8-8f5f-37811e9e956a" providerId="AD" clId="Web-{51F934D8-BB2E-6D74-5B31-8FCC0D3B9902}" dt="2024-07-08T20:20:12.214" v="146"/>
          <ac:cxnSpMkLst>
            <pc:docMk/>
            <pc:sldMk cId="1732030646" sldId="2142533196"/>
            <ac:cxnSpMk id="1031" creationId="{B4862362-D8A9-3D04-E166-E929BE6F3A29}"/>
          </ac:cxnSpMkLst>
        </pc:cxnChg>
        <pc:cxnChg chg="del">
          <ac:chgData name="Melaerts Frédéric" userId="S::frederic.melaerts@ond.vlaanderen.be::e63e2408-a9ae-43c8-8f5f-37811e9e956a" providerId="AD" clId="Web-{51F934D8-BB2E-6D74-5B31-8FCC0D3B9902}" dt="2024-07-08T20:19:43.490" v="96"/>
          <ac:cxnSpMkLst>
            <pc:docMk/>
            <pc:sldMk cId="1732030646" sldId="2142533196"/>
            <ac:cxnSpMk id="1032" creationId="{4C431126-4F09-0821-63D8-872A3A8B8954}"/>
          </ac:cxnSpMkLst>
        </pc:cxnChg>
        <pc:cxnChg chg="del">
          <ac:chgData name="Melaerts Frédéric" userId="S::frederic.melaerts@ond.vlaanderen.be::e63e2408-a9ae-43c8-8f5f-37811e9e956a" providerId="AD" clId="Web-{51F934D8-BB2E-6D74-5B31-8FCC0D3B9902}" dt="2024-07-08T20:19:41.271" v="94"/>
          <ac:cxnSpMkLst>
            <pc:docMk/>
            <pc:sldMk cId="1732030646" sldId="2142533196"/>
            <ac:cxnSpMk id="1033" creationId="{AAF9D896-2C54-049E-FD87-6C86D1FD841E}"/>
          </ac:cxnSpMkLst>
        </pc:cxnChg>
        <pc:cxnChg chg="del">
          <ac:chgData name="Melaerts Frédéric" userId="S::frederic.melaerts@ond.vlaanderen.be::e63e2408-a9ae-43c8-8f5f-37811e9e956a" providerId="AD" clId="Web-{51F934D8-BB2E-6D74-5B31-8FCC0D3B9902}" dt="2024-07-08T20:19:49.630" v="103"/>
          <ac:cxnSpMkLst>
            <pc:docMk/>
            <pc:sldMk cId="1732030646" sldId="2142533196"/>
            <ac:cxnSpMk id="1034" creationId="{D899C57C-1188-4570-79D7-957E25B7CD2D}"/>
          </ac:cxnSpMkLst>
        </pc:cxnChg>
        <pc:cxnChg chg="del">
          <ac:chgData name="Melaerts Frédéric" userId="S::frederic.melaerts@ond.vlaanderen.be::e63e2408-a9ae-43c8-8f5f-37811e9e956a" providerId="AD" clId="Web-{51F934D8-BB2E-6D74-5B31-8FCC0D3B9902}" dt="2024-07-08T20:19:49.630" v="102"/>
          <ac:cxnSpMkLst>
            <pc:docMk/>
            <pc:sldMk cId="1732030646" sldId="2142533196"/>
            <ac:cxnSpMk id="1035" creationId="{FDEB549E-9FED-53D7-AD33-F8CFBD27948C}"/>
          </ac:cxnSpMkLst>
        </pc:cxnChg>
        <pc:cxnChg chg="add del">
          <ac:chgData name="Melaerts Frédéric" userId="S::frederic.melaerts@ond.vlaanderen.be::e63e2408-a9ae-43c8-8f5f-37811e9e956a" providerId="AD" clId="Web-{51F934D8-BB2E-6D74-5B31-8FCC0D3B9902}" dt="2024-07-08T20:19:59.662" v="135"/>
          <ac:cxnSpMkLst>
            <pc:docMk/>
            <pc:sldMk cId="1732030646" sldId="2142533196"/>
            <ac:cxnSpMk id="1036" creationId="{94DBCE65-32F6-F64B-865F-A1CF91CC22F3}"/>
          </ac:cxnSpMkLst>
        </pc:cxnChg>
        <pc:cxnChg chg="add del">
          <ac:chgData name="Melaerts Frédéric" userId="S::frederic.melaerts@ond.vlaanderen.be::e63e2408-a9ae-43c8-8f5f-37811e9e956a" providerId="AD" clId="Web-{51F934D8-BB2E-6D74-5B31-8FCC0D3B9902}" dt="2024-07-08T20:19:59.662" v="134"/>
          <ac:cxnSpMkLst>
            <pc:docMk/>
            <pc:sldMk cId="1732030646" sldId="2142533196"/>
            <ac:cxnSpMk id="1037" creationId="{FC19350B-0E06-9A13-1023-90BAE990D9FD}"/>
          </ac:cxnSpMkLst>
        </pc:cxnChg>
        <pc:cxnChg chg="del mod">
          <ac:chgData name="Melaerts Frédéric" userId="S::frederic.melaerts@ond.vlaanderen.be::e63e2408-a9ae-43c8-8f5f-37811e9e956a" providerId="AD" clId="Web-{51F934D8-BB2E-6D74-5B31-8FCC0D3B9902}" dt="2024-07-08T20:20:09.792" v="143"/>
          <ac:cxnSpMkLst>
            <pc:docMk/>
            <pc:sldMk cId="1732030646" sldId="2142533196"/>
            <ac:cxnSpMk id="1038" creationId="{17FD48B0-FA5A-D69F-4E74-A3CA52884957}"/>
          </ac:cxnSpMkLst>
        </pc:cxnChg>
        <pc:cxnChg chg="add del">
          <ac:chgData name="Melaerts Frédéric" userId="S::frederic.melaerts@ond.vlaanderen.be::e63e2408-a9ae-43c8-8f5f-37811e9e956a" providerId="AD" clId="Web-{51F934D8-BB2E-6D74-5B31-8FCC0D3B9902}" dt="2024-07-08T20:19:59.662" v="133"/>
          <ac:cxnSpMkLst>
            <pc:docMk/>
            <pc:sldMk cId="1732030646" sldId="2142533196"/>
            <ac:cxnSpMk id="1039" creationId="{C366E430-FC94-DA15-29FA-A515947BF1F6}"/>
          </ac:cxnSpMkLst>
        </pc:cxnChg>
        <pc:cxnChg chg="add del">
          <ac:chgData name="Melaerts Frédéric" userId="S::frederic.melaerts@ond.vlaanderen.be::e63e2408-a9ae-43c8-8f5f-37811e9e956a" providerId="AD" clId="Web-{51F934D8-BB2E-6D74-5B31-8FCC0D3B9902}" dt="2024-07-08T20:19:09.567" v="60"/>
          <ac:cxnSpMkLst>
            <pc:docMk/>
            <pc:sldMk cId="1732030646" sldId="2142533196"/>
            <ac:cxnSpMk id="1040" creationId="{3940AF17-F8ED-C2B2-B8B4-2F33927AFB06}"/>
          </ac:cxnSpMkLst>
        </pc:cxnChg>
        <pc:cxnChg chg="del mod">
          <ac:chgData name="Melaerts Frédéric" userId="S::frederic.melaerts@ond.vlaanderen.be::e63e2408-a9ae-43c8-8f5f-37811e9e956a" providerId="AD" clId="Web-{51F934D8-BB2E-6D74-5B31-8FCC0D3B9902}" dt="2024-07-08T20:20:09.792" v="142"/>
          <ac:cxnSpMkLst>
            <pc:docMk/>
            <pc:sldMk cId="1732030646" sldId="2142533196"/>
            <ac:cxnSpMk id="1041" creationId="{EF55CAE2-FF1C-E489-650E-F6A27AB08FC1}"/>
          </ac:cxnSpMkLst>
        </pc:cxnChg>
        <pc:cxnChg chg="del mod">
          <ac:chgData name="Melaerts Frédéric" userId="S::frederic.melaerts@ond.vlaanderen.be::e63e2408-a9ae-43c8-8f5f-37811e9e956a" providerId="AD" clId="Web-{51F934D8-BB2E-6D74-5B31-8FCC0D3B9902}" dt="2024-07-08T20:20:09.792" v="141"/>
          <ac:cxnSpMkLst>
            <pc:docMk/>
            <pc:sldMk cId="1732030646" sldId="2142533196"/>
            <ac:cxnSpMk id="1042" creationId="{842989D1-47EB-D37C-8993-EDFD97C1E0BE}"/>
          </ac:cxnSpMkLst>
        </pc:cxnChg>
        <pc:cxnChg chg="del">
          <ac:chgData name="Melaerts Frédéric" userId="S::frederic.melaerts@ond.vlaanderen.be::e63e2408-a9ae-43c8-8f5f-37811e9e956a" providerId="AD" clId="Web-{51F934D8-BB2E-6D74-5B31-8FCC0D3B9902}" dt="2024-07-08T20:20:09.792" v="140"/>
          <ac:cxnSpMkLst>
            <pc:docMk/>
            <pc:sldMk cId="1732030646" sldId="2142533196"/>
            <ac:cxnSpMk id="1043" creationId="{53406B3D-D8E0-0500-810A-873A69D966B0}"/>
          </ac:cxnSpMkLst>
        </pc:cxnChg>
        <pc:cxnChg chg="del">
          <ac:chgData name="Melaerts Frédéric" userId="S::frederic.melaerts@ond.vlaanderen.be::e63e2408-a9ae-43c8-8f5f-37811e9e956a" providerId="AD" clId="Web-{51F934D8-BB2E-6D74-5B31-8FCC0D3B9902}" dt="2024-07-08T20:20:09.792" v="139"/>
          <ac:cxnSpMkLst>
            <pc:docMk/>
            <pc:sldMk cId="1732030646" sldId="2142533196"/>
            <ac:cxnSpMk id="1044" creationId="{676F1FD6-40C6-552A-C536-9B823650E98D}"/>
          </ac:cxnSpMkLst>
        </pc:cxnChg>
        <pc:cxnChg chg="add del">
          <ac:chgData name="Melaerts Frédéric" userId="S::frederic.melaerts@ond.vlaanderen.be::e63e2408-a9ae-43c8-8f5f-37811e9e956a" providerId="AD" clId="Web-{51F934D8-BB2E-6D74-5B31-8FCC0D3B9902}" dt="2024-07-08T20:19:09.567" v="59"/>
          <ac:cxnSpMkLst>
            <pc:docMk/>
            <pc:sldMk cId="1732030646" sldId="2142533196"/>
            <ac:cxnSpMk id="1046" creationId="{B235F239-14A7-A4BE-0506-AEDD3BB3881A}"/>
          </ac:cxnSpMkLst>
        </pc:cxnChg>
        <pc:cxnChg chg="add del">
          <ac:chgData name="Melaerts Frédéric" userId="S::frederic.melaerts@ond.vlaanderen.be::e63e2408-a9ae-43c8-8f5f-37811e9e956a" providerId="AD" clId="Web-{51F934D8-BB2E-6D74-5B31-8FCC0D3B9902}" dt="2024-07-08T20:19:09.567" v="58"/>
          <ac:cxnSpMkLst>
            <pc:docMk/>
            <pc:sldMk cId="1732030646" sldId="2142533196"/>
            <ac:cxnSpMk id="1049" creationId="{0EB629E7-6946-9CE6-0EC2-138CB2E0F0DD}"/>
          </ac:cxnSpMkLst>
        </pc:cxnChg>
        <pc:cxnChg chg="add del">
          <ac:chgData name="Melaerts Frédéric" userId="S::frederic.melaerts@ond.vlaanderen.be::e63e2408-a9ae-43c8-8f5f-37811e9e956a" providerId="AD" clId="Web-{51F934D8-BB2E-6D74-5B31-8FCC0D3B9902}" dt="2024-07-08T20:19:09.567" v="57"/>
          <ac:cxnSpMkLst>
            <pc:docMk/>
            <pc:sldMk cId="1732030646" sldId="2142533196"/>
            <ac:cxnSpMk id="1054" creationId="{57E11592-3AEE-2BFE-345C-1EFF9A16FC41}"/>
          </ac:cxnSpMkLst>
        </pc:cxnChg>
        <pc:cxnChg chg="add del">
          <ac:chgData name="Melaerts Frédéric" userId="S::frederic.melaerts@ond.vlaanderen.be::e63e2408-a9ae-43c8-8f5f-37811e9e956a" providerId="AD" clId="Web-{51F934D8-BB2E-6D74-5B31-8FCC0D3B9902}" dt="2024-07-08T20:19:09.567" v="56"/>
          <ac:cxnSpMkLst>
            <pc:docMk/>
            <pc:sldMk cId="1732030646" sldId="2142533196"/>
            <ac:cxnSpMk id="1056" creationId="{03216A2E-F6F9-EC35-3276-A20E3D9A6323}"/>
          </ac:cxnSpMkLst>
        </pc:cxnChg>
        <pc:cxnChg chg="add del">
          <ac:chgData name="Melaerts Frédéric" userId="S::frederic.melaerts@ond.vlaanderen.be::e63e2408-a9ae-43c8-8f5f-37811e9e956a" providerId="AD" clId="Web-{51F934D8-BB2E-6D74-5B31-8FCC0D3B9902}" dt="2024-07-08T20:19:09.567" v="55"/>
          <ac:cxnSpMkLst>
            <pc:docMk/>
            <pc:sldMk cId="1732030646" sldId="2142533196"/>
            <ac:cxnSpMk id="1058" creationId="{F6FA818F-9F96-FDD9-93E5-09BDDDF9E023}"/>
          </ac:cxnSpMkLst>
        </pc:cxnChg>
        <pc:cxnChg chg="add mod">
          <ac:chgData name="Melaerts Frédéric" userId="S::frederic.melaerts@ond.vlaanderen.be::e63e2408-a9ae-43c8-8f5f-37811e9e956a" providerId="AD" clId="Web-{51F934D8-BB2E-6D74-5B31-8FCC0D3B9902}" dt="2024-07-08T20:20:38.074" v="218" actId="1076"/>
          <ac:cxnSpMkLst>
            <pc:docMk/>
            <pc:sldMk cId="1732030646" sldId="2142533196"/>
            <ac:cxnSpMk id="1096" creationId="{1EBCD792-FBB0-E7EA-38F8-762806124E1B}"/>
          </ac:cxnSpMkLst>
        </pc:cxnChg>
        <pc:cxnChg chg="add mod">
          <ac:chgData name="Melaerts Frédéric" userId="S::frederic.melaerts@ond.vlaanderen.be::e63e2408-a9ae-43c8-8f5f-37811e9e956a" providerId="AD" clId="Web-{51F934D8-BB2E-6D74-5B31-8FCC0D3B9902}" dt="2024-07-08T20:20:38.090" v="219" actId="1076"/>
          <ac:cxnSpMkLst>
            <pc:docMk/>
            <pc:sldMk cId="1732030646" sldId="2142533196"/>
            <ac:cxnSpMk id="1098" creationId="{7F308493-5BDA-B008-5335-8F6E0B92BD36}"/>
          </ac:cxnSpMkLst>
        </pc:cxnChg>
        <pc:cxnChg chg="add mod">
          <ac:chgData name="Melaerts Frédéric" userId="S::frederic.melaerts@ond.vlaanderen.be::e63e2408-a9ae-43c8-8f5f-37811e9e956a" providerId="AD" clId="Web-{51F934D8-BB2E-6D74-5B31-8FCC0D3B9902}" dt="2024-07-08T20:20:38.105" v="220" actId="1076"/>
          <ac:cxnSpMkLst>
            <pc:docMk/>
            <pc:sldMk cId="1732030646" sldId="2142533196"/>
            <ac:cxnSpMk id="1100" creationId="{7B537862-E460-D3F5-1750-A198843DFE5B}"/>
          </ac:cxnSpMkLst>
        </pc:cxnChg>
        <pc:cxnChg chg="add mod">
          <ac:chgData name="Melaerts Frédéric" userId="S::frederic.melaerts@ond.vlaanderen.be::e63e2408-a9ae-43c8-8f5f-37811e9e956a" providerId="AD" clId="Web-{51F934D8-BB2E-6D74-5B31-8FCC0D3B9902}" dt="2024-07-08T20:20:38.105" v="221" actId="1076"/>
          <ac:cxnSpMkLst>
            <pc:docMk/>
            <pc:sldMk cId="1732030646" sldId="2142533196"/>
            <ac:cxnSpMk id="1102" creationId="{1FFAA0F9-F8AD-4427-1240-A570F28F70D3}"/>
          </ac:cxnSpMkLst>
        </pc:cxnChg>
        <pc:cxnChg chg="add mod">
          <ac:chgData name="Melaerts Frédéric" userId="S::frederic.melaerts@ond.vlaanderen.be::e63e2408-a9ae-43c8-8f5f-37811e9e956a" providerId="AD" clId="Web-{51F934D8-BB2E-6D74-5B31-8FCC0D3B9902}" dt="2024-07-08T20:20:38.121" v="222" actId="1076"/>
          <ac:cxnSpMkLst>
            <pc:docMk/>
            <pc:sldMk cId="1732030646" sldId="2142533196"/>
            <ac:cxnSpMk id="1104" creationId="{21878F3A-C1B9-3C5F-36C7-47BE021C2C49}"/>
          </ac:cxnSpMkLst>
        </pc:cxnChg>
        <pc:cxnChg chg="add mod">
          <ac:chgData name="Melaerts Frédéric" userId="S::frederic.melaerts@ond.vlaanderen.be::e63e2408-a9ae-43c8-8f5f-37811e9e956a" providerId="AD" clId="Web-{51F934D8-BB2E-6D74-5B31-8FCC0D3B9902}" dt="2024-07-08T20:20:38.121" v="223" actId="1076"/>
          <ac:cxnSpMkLst>
            <pc:docMk/>
            <pc:sldMk cId="1732030646" sldId="2142533196"/>
            <ac:cxnSpMk id="1106" creationId="{549E7E86-BDAB-AA9E-3456-E51306E732E1}"/>
          </ac:cxnSpMkLst>
        </pc:cxnChg>
        <pc:cxnChg chg="add mod">
          <ac:chgData name="Melaerts Frédéric" userId="S::frederic.melaerts@ond.vlaanderen.be::e63e2408-a9ae-43c8-8f5f-37811e9e956a" providerId="AD" clId="Web-{51F934D8-BB2E-6D74-5B31-8FCC0D3B9902}" dt="2024-07-08T20:20:38.136" v="224" actId="1076"/>
          <ac:cxnSpMkLst>
            <pc:docMk/>
            <pc:sldMk cId="1732030646" sldId="2142533196"/>
            <ac:cxnSpMk id="1108" creationId="{716BFE6A-BB30-4076-0A83-78A93A92C5C0}"/>
          </ac:cxnSpMkLst>
        </pc:cxnChg>
        <pc:cxnChg chg="add mod">
          <ac:chgData name="Melaerts Frédéric" userId="S::frederic.melaerts@ond.vlaanderen.be::e63e2408-a9ae-43c8-8f5f-37811e9e956a" providerId="AD" clId="Web-{51F934D8-BB2E-6D74-5B31-8FCC0D3B9902}" dt="2024-07-08T20:20:38.152" v="225" actId="1076"/>
          <ac:cxnSpMkLst>
            <pc:docMk/>
            <pc:sldMk cId="1732030646" sldId="2142533196"/>
            <ac:cxnSpMk id="1110" creationId="{419A8D54-E7DD-A44A-3119-E4C66F2ACD5A}"/>
          </ac:cxnSpMkLst>
        </pc:cxnChg>
        <pc:cxnChg chg="add mod">
          <ac:chgData name="Melaerts Frédéric" userId="S::frederic.melaerts@ond.vlaanderen.be::e63e2408-a9ae-43c8-8f5f-37811e9e956a" providerId="AD" clId="Web-{51F934D8-BB2E-6D74-5B31-8FCC0D3B9902}" dt="2024-07-08T20:20:38.152" v="226" actId="1076"/>
          <ac:cxnSpMkLst>
            <pc:docMk/>
            <pc:sldMk cId="1732030646" sldId="2142533196"/>
            <ac:cxnSpMk id="1112" creationId="{1D091E3C-E78B-3BE2-1CA7-3DD2C6B7D118}"/>
          </ac:cxnSpMkLst>
        </pc:cxnChg>
        <pc:cxnChg chg="add mod">
          <ac:chgData name="Melaerts Frédéric" userId="S::frederic.melaerts@ond.vlaanderen.be::e63e2408-a9ae-43c8-8f5f-37811e9e956a" providerId="AD" clId="Web-{51F934D8-BB2E-6D74-5B31-8FCC0D3B9902}" dt="2024-07-08T20:20:38.168" v="227" actId="1076"/>
          <ac:cxnSpMkLst>
            <pc:docMk/>
            <pc:sldMk cId="1732030646" sldId="2142533196"/>
            <ac:cxnSpMk id="1114" creationId="{FA58AD83-88C6-29F2-74E4-0F9EA86AB6F1}"/>
          </ac:cxnSpMkLst>
        </pc:cxnChg>
        <pc:cxnChg chg="add mod">
          <ac:chgData name="Melaerts Frédéric" userId="S::frederic.melaerts@ond.vlaanderen.be::e63e2408-a9ae-43c8-8f5f-37811e9e956a" providerId="AD" clId="Web-{51F934D8-BB2E-6D74-5B31-8FCC0D3B9902}" dt="2024-07-08T20:20:38.168" v="228" actId="1076"/>
          <ac:cxnSpMkLst>
            <pc:docMk/>
            <pc:sldMk cId="1732030646" sldId="2142533196"/>
            <ac:cxnSpMk id="1116" creationId="{32448DB8-4F3D-41D8-DA73-870DDCF98585}"/>
          </ac:cxnSpMkLst>
        </pc:cxnChg>
        <pc:cxnChg chg="add mod">
          <ac:chgData name="Melaerts Frédéric" userId="S::frederic.melaerts@ond.vlaanderen.be::e63e2408-a9ae-43c8-8f5f-37811e9e956a" providerId="AD" clId="Web-{51F934D8-BB2E-6D74-5B31-8FCC0D3B9902}" dt="2024-07-08T20:20:38.183" v="229" actId="1076"/>
          <ac:cxnSpMkLst>
            <pc:docMk/>
            <pc:sldMk cId="1732030646" sldId="2142533196"/>
            <ac:cxnSpMk id="1118" creationId="{7A87901E-120D-88DB-7575-F55D2ABA1EF8}"/>
          </ac:cxnSpMkLst>
        </pc:cxnChg>
        <pc:cxnChg chg="add mod">
          <ac:chgData name="Melaerts Frédéric" userId="S::frederic.melaerts@ond.vlaanderen.be::e63e2408-a9ae-43c8-8f5f-37811e9e956a" providerId="AD" clId="Web-{51F934D8-BB2E-6D74-5B31-8FCC0D3B9902}" dt="2024-07-08T20:20:38.199" v="230" actId="1076"/>
          <ac:cxnSpMkLst>
            <pc:docMk/>
            <pc:sldMk cId="1732030646" sldId="2142533196"/>
            <ac:cxnSpMk id="1120" creationId="{22467EC2-D4F9-6EEA-2020-1A46A9CF3C10}"/>
          </ac:cxnSpMkLst>
        </pc:cxnChg>
        <pc:cxnChg chg="add mod">
          <ac:chgData name="Melaerts Frédéric" userId="S::frederic.melaerts@ond.vlaanderen.be::e63e2408-a9ae-43c8-8f5f-37811e9e956a" providerId="AD" clId="Web-{51F934D8-BB2E-6D74-5B31-8FCC0D3B9902}" dt="2024-07-08T20:20:38.199" v="231" actId="1076"/>
          <ac:cxnSpMkLst>
            <pc:docMk/>
            <pc:sldMk cId="1732030646" sldId="2142533196"/>
            <ac:cxnSpMk id="1122" creationId="{45E5675E-0C75-3337-8422-2028BF6871CA}"/>
          </ac:cxnSpMkLst>
        </pc:cxnChg>
      </pc:sldChg>
      <pc:sldChg chg="addSp delSp modSp">
        <pc:chgData name="Melaerts Frédéric" userId="S::frederic.melaerts@ond.vlaanderen.be::e63e2408-a9ae-43c8-8f5f-37811e9e956a" providerId="AD" clId="Web-{51F934D8-BB2E-6D74-5B31-8FCC0D3B9902}" dt="2024-07-08T20:18:53.004" v="26"/>
        <pc:sldMkLst>
          <pc:docMk/>
          <pc:sldMk cId="2899547110" sldId="2142533197"/>
        </pc:sldMkLst>
        <pc:spChg chg="mod">
          <ac:chgData name="Melaerts Frédéric" userId="S::frederic.melaerts@ond.vlaanderen.be::e63e2408-a9ae-43c8-8f5f-37811e9e956a" providerId="AD" clId="Web-{51F934D8-BB2E-6D74-5B31-8FCC0D3B9902}" dt="2024-07-08T20:16:41.835" v="2" actId="20577"/>
          <ac:spMkLst>
            <pc:docMk/>
            <pc:sldMk cId="2899547110" sldId="2142533197"/>
            <ac:spMk id="2" creationId="{7C811E99-F9F0-4692-BCDE-C6E08B217F96}"/>
          </ac:spMkLst>
        </pc:spChg>
        <pc:spChg chg="mod">
          <ac:chgData name="Melaerts Frédéric" userId="S::frederic.melaerts@ond.vlaanderen.be::e63e2408-a9ae-43c8-8f5f-37811e9e956a" providerId="AD" clId="Web-{51F934D8-BB2E-6D74-5B31-8FCC0D3B9902}" dt="2024-07-08T20:17:38.454" v="14"/>
          <ac:spMkLst>
            <pc:docMk/>
            <pc:sldMk cId="2899547110" sldId="2142533197"/>
            <ac:spMk id="4" creationId="{898E25C0-B1F1-AF97-EE5B-543686AB4E35}"/>
          </ac:spMkLst>
        </pc:spChg>
        <pc:spChg chg="mod">
          <ac:chgData name="Melaerts Frédéric" userId="S::frederic.melaerts@ond.vlaanderen.be::e63e2408-a9ae-43c8-8f5f-37811e9e956a" providerId="AD" clId="Web-{51F934D8-BB2E-6D74-5B31-8FCC0D3B9902}" dt="2024-07-08T20:17:38.454" v="15"/>
          <ac:spMkLst>
            <pc:docMk/>
            <pc:sldMk cId="2899547110" sldId="2142533197"/>
            <ac:spMk id="6" creationId="{6C48CD0D-22EF-941B-33FD-DB9E335CEDC4}"/>
          </ac:spMkLst>
        </pc:spChg>
        <pc:spChg chg="mod">
          <ac:chgData name="Melaerts Frédéric" userId="S::frederic.melaerts@ond.vlaanderen.be::e63e2408-a9ae-43c8-8f5f-37811e9e956a" providerId="AD" clId="Web-{51F934D8-BB2E-6D74-5B31-8FCC0D3B9902}" dt="2024-07-08T20:17:38.454" v="16"/>
          <ac:spMkLst>
            <pc:docMk/>
            <pc:sldMk cId="2899547110" sldId="2142533197"/>
            <ac:spMk id="8" creationId="{9DF75443-501B-F577-8E7C-5F50F32645E9}"/>
          </ac:spMkLst>
        </pc:spChg>
        <pc:spChg chg="add del mod">
          <ac:chgData name="Melaerts Frédéric" userId="S::frederic.melaerts@ond.vlaanderen.be::e63e2408-a9ae-43c8-8f5f-37811e9e956a" providerId="AD" clId="Web-{51F934D8-BB2E-6D74-5B31-8FCC0D3B9902}" dt="2024-07-08T20:18:53.004" v="26"/>
          <ac:spMkLst>
            <pc:docMk/>
            <pc:sldMk cId="2899547110" sldId="2142533197"/>
            <ac:spMk id="9" creationId="{420C4F04-6272-B1AB-4FFC-6AA6B9B29806}"/>
          </ac:spMkLst>
        </pc:spChg>
        <pc:spChg chg="mod">
          <ac:chgData name="Melaerts Frédéric" userId="S::frederic.melaerts@ond.vlaanderen.be::e63e2408-a9ae-43c8-8f5f-37811e9e956a" providerId="AD" clId="Web-{51F934D8-BB2E-6D74-5B31-8FCC0D3B9902}" dt="2024-07-08T20:17:38.454" v="17"/>
          <ac:spMkLst>
            <pc:docMk/>
            <pc:sldMk cId="2899547110" sldId="2142533197"/>
            <ac:spMk id="18" creationId="{B03C922F-C7D5-7A78-4ACA-045EDF046937}"/>
          </ac:spMkLst>
        </pc:spChg>
        <pc:spChg chg="mod">
          <ac:chgData name="Melaerts Frédéric" userId="S::frederic.melaerts@ond.vlaanderen.be::e63e2408-a9ae-43c8-8f5f-37811e9e956a" providerId="AD" clId="Web-{51F934D8-BB2E-6D74-5B31-8FCC0D3B9902}" dt="2024-07-08T20:17:38.454" v="18"/>
          <ac:spMkLst>
            <pc:docMk/>
            <pc:sldMk cId="2899547110" sldId="2142533197"/>
            <ac:spMk id="20" creationId="{C2E3C99E-D0BF-F625-7D3D-BFB0EA96C48F}"/>
          </ac:spMkLst>
        </pc:spChg>
        <pc:spChg chg="mod">
          <ac:chgData name="Melaerts Frédéric" userId="S::frederic.melaerts@ond.vlaanderen.be::e63e2408-a9ae-43c8-8f5f-37811e9e956a" providerId="AD" clId="Web-{51F934D8-BB2E-6D74-5B31-8FCC0D3B9902}" dt="2024-07-08T20:17:38.454" v="19"/>
          <ac:spMkLst>
            <pc:docMk/>
            <pc:sldMk cId="2899547110" sldId="2142533197"/>
            <ac:spMk id="23" creationId="{D28F6577-9BDA-72C3-A400-9151A67B3F4D}"/>
          </ac:spMkLst>
        </pc:spChg>
        <pc:spChg chg="mod">
          <ac:chgData name="Melaerts Frédéric" userId="S::frederic.melaerts@ond.vlaanderen.be::e63e2408-a9ae-43c8-8f5f-37811e9e956a" providerId="AD" clId="Web-{51F934D8-BB2E-6D74-5B31-8FCC0D3B9902}" dt="2024-07-08T20:17:38.454" v="20"/>
          <ac:spMkLst>
            <pc:docMk/>
            <pc:sldMk cId="2899547110" sldId="2142533197"/>
            <ac:spMk id="25" creationId="{3AB115B4-FF3F-AC71-2990-9769F8526672}"/>
          </ac:spMkLst>
        </pc:spChg>
        <pc:spChg chg="mod">
          <ac:chgData name="Melaerts Frédéric" userId="S::frederic.melaerts@ond.vlaanderen.be::e63e2408-a9ae-43c8-8f5f-37811e9e956a" providerId="AD" clId="Web-{51F934D8-BB2E-6D74-5B31-8FCC0D3B9902}" dt="2024-07-08T20:17:38.642" v="21"/>
          <ac:spMkLst>
            <pc:docMk/>
            <pc:sldMk cId="2899547110" sldId="2142533197"/>
            <ac:spMk id="26" creationId="{DDC204AE-6D7E-7C7F-4BE8-66E566682403}"/>
          </ac:spMkLst>
        </pc:spChg>
        <pc:spChg chg="mod">
          <ac:chgData name="Melaerts Frédéric" userId="S::frederic.melaerts@ond.vlaanderen.be::e63e2408-a9ae-43c8-8f5f-37811e9e956a" providerId="AD" clId="Web-{51F934D8-BB2E-6D74-5B31-8FCC0D3B9902}" dt="2024-07-08T20:17:38.439" v="6"/>
          <ac:spMkLst>
            <pc:docMk/>
            <pc:sldMk cId="2899547110" sldId="2142533197"/>
            <ac:spMk id="27" creationId="{5421B53B-3B69-849C-27F0-9BEA2CD21CE8}"/>
          </ac:spMkLst>
        </pc:spChg>
        <pc:spChg chg="mod">
          <ac:chgData name="Melaerts Frédéric" userId="S::frederic.melaerts@ond.vlaanderen.be::e63e2408-a9ae-43c8-8f5f-37811e9e956a" providerId="AD" clId="Web-{51F934D8-BB2E-6D74-5B31-8FCC0D3B9902}" dt="2024-07-08T20:17:38.439" v="7"/>
          <ac:spMkLst>
            <pc:docMk/>
            <pc:sldMk cId="2899547110" sldId="2142533197"/>
            <ac:spMk id="29" creationId="{47ACB684-E5E3-3B10-80B0-1C332843597A}"/>
          </ac:spMkLst>
        </pc:spChg>
        <pc:spChg chg="mod">
          <ac:chgData name="Melaerts Frédéric" userId="S::frederic.melaerts@ond.vlaanderen.be::e63e2408-a9ae-43c8-8f5f-37811e9e956a" providerId="AD" clId="Web-{51F934D8-BB2E-6D74-5B31-8FCC0D3B9902}" dt="2024-07-08T20:17:38.454" v="8"/>
          <ac:spMkLst>
            <pc:docMk/>
            <pc:sldMk cId="2899547110" sldId="2142533197"/>
            <ac:spMk id="1053" creationId="{0749ECB1-F585-1D78-5241-2F185C5BD66F}"/>
          </ac:spMkLst>
        </pc:spChg>
        <pc:spChg chg="mod">
          <ac:chgData name="Melaerts Frédéric" userId="S::frederic.melaerts@ond.vlaanderen.be::e63e2408-a9ae-43c8-8f5f-37811e9e956a" providerId="AD" clId="Web-{51F934D8-BB2E-6D74-5B31-8FCC0D3B9902}" dt="2024-07-08T20:17:38.454" v="9"/>
          <ac:spMkLst>
            <pc:docMk/>
            <pc:sldMk cId="2899547110" sldId="2142533197"/>
            <ac:spMk id="1073" creationId="{B6D3CA99-231D-F0EC-5EA9-874F8310A8B8}"/>
          </ac:spMkLst>
        </pc:spChg>
        <pc:spChg chg="mod">
          <ac:chgData name="Melaerts Frédéric" userId="S::frederic.melaerts@ond.vlaanderen.be::e63e2408-a9ae-43c8-8f5f-37811e9e956a" providerId="AD" clId="Web-{51F934D8-BB2E-6D74-5B31-8FCC0D3B9902}" dt="2024-07-08T20:17:38.454" v="10"/>
          <ac:spMkLst>
            <pc:docMk/>
            <pc:sldMk cId="2899547110" sldId="2142533197"/>
            <ac:spMk id="1084" creationId="{096CB886-AED3-3C68-CC42-93AD37C9C21F}"/>
          </ac:spMkLst>
        </pc:spChg>
        <pc:spChg chg="mod">
          <ac:chgData name="Melaerts Frédéric" userId="S::frederic.melaerts@ond.vlaanderen.be::e63e2408-a9ae-43c8-8f5f-37811e9e956a" providerId="AD" clId="Web-{51F934D8-BB2E-6D74-5B31-8FCC0D3B9902}" dt="2024-07-08T20:17:38.454" v="11"/>
          <ac:spMkLst>
            <pc:docMk/>
            <pc:sldMk cId="2899547110" sldId="2142533197"/>
            <ac:spMk id="1087" creationId="{44464D86-28E2-C6D2-6CDD-F628CA174CD8}"/>
          </ac:spMkLst>
        </pc:spChg>
        <pc:spChg chg="mod">
          <ac:chgData name="Melaerts Frédéric" userId="S::frederic.melaerts@ond.vlaanderen.be::e63e2408-a9ae-43c8-8f5f-37811e9e956a" providerId="AD" clId="Web-{51F934D8-BB2E-6D74-5B31-8FCC0D3B9902}" dt="2024-07-08T20:17:38.454" v="12"/>
          <ac:spMkLst>
            <pc:docMk/>
            <pc:sldMk cId="2899547110" sldId="2142533197"/>
            <ac:spMk id="1090" creationId="{92DA5A74-E7CD-B72F-A344-01E81F9389B7}"/>
          </ac:spMkLst>
        </pc:spChg>
        <pc:spChg chg="mod">
          <ac:chgData name="Melaerts Frédéric" userId="S::frederic.melaerts@ond.vlaanderen.be::e63e2408-a9ae-43c8-8f5f-37811e9e956a" providerId="AD" clId="Web-{51F934D8-BB2E-6D74-5B31-8FCC0D3B9902}" dt="2024-07-08T20:17:38.454" v="13"/>
          <ac:spMkLst>
            <pc:docMk/>
            <pc:sldMk cId="2899547110" sldId="2142533197"/>
            <ac:spMk id="1161" creationId="{70102454-3512-E054-7A29-77DC67644845}"/>
          </ac:spMkLst>
        </pc:spChg>
      </pc:sldChg>
      <pc:sldChg chg="add del replId">
        <pc:chgData name="Melaerts Frédéric" userId="S::frederic.melaerts@ond.vlaanderen.be::e63e2408-a9ae-43c8-8f5f-37811e9e956a" providerId="AD" clId="Web-{51F934D8-BB2E-6D74-5B31-8FCC0D3B9902}" dt="2024-07-08T20:19:24.239" v="85"/>
        <pc:sldMkLst>
          <pc:docMk/>
          <pc:sldMk cId="322235203" sldId="2142533208"/>
        </pc:sldMkLst>
      </pc:sldChg>
    </pc:docChg>
  </pc:docChgLst>
  <pc:docChgLst>
    <pc:chgData name="Melaerts Frédéric" userId="S::frederic.melaerts@ond.vlaanderen.be::e63e2408-a9ae-43c8-8f5f-37811e9e956a" providerId="AD" clId="Web-{99471BD6-CC70-A023-BD5C-1C96D8423999}"/>
    <pc:docChg chg="modSld">
      <pc:chgData name="Melaerts Frédéric" userId="S::frederic.melaerts@ond.vlaanderen.be::e63e2408-a9ae-43c8-8f5f-37811e9e956a" providerId="AD" clId="Web-{99471BD6-CC70-A023-BD5C-1C96D8423999}" dt="2024-07-09T06:56:05.361" v="6" actId="20577"/>
      <pc:docMkLst>
        <pc:docMk/>
      </pc:docMkLst>
      <pc:sldChg chg="modSp">
        <pc:chgData name="Melaerts Frédéric" userId="S::frederic.melaerts@ond.vlaanderen.be::e63e2408-a9ae-43c8-8f5f-37811e9e956a" providerId="AD" clId="Web-{99471BD6-CC70-A023-BD5C-1C96D8423999}" dt="2024-07-09T06:55:04.828" v="4"/>
        <pc:sldMkLst>
          <pc:docMk/>
          <pc:sldMk cId="3396145674" sldId="2142533192"/>
        </pc:sldMkLst>
        <pc:spChg chg="mod">
          <ac:chgData name="Melaerts Frédéric" userId="S::frederic.melaerts@ond.vlaanderen.be::e63e2408-a9ae-43c8-8f5f-37811e9e956a" providerId="AD" clId="Web-{99471BD6-CC70-A023-BD5C-1C96D8423999}" dt="2024-07-09T06:55:04.797" v="1"/>
          <ac:spMkLst>
            <pc:docMk/>
            <pc:sldMk cId="3396145674" sldId="2142533192"/>
            <ac:spMk id="4" creationId="{C5AB30C6-CCB0-3586-9922-2F383BFB2A22}"/>
          </ac:spMkLst>
        </pc:spChg>
        <pc:spChg chg="mod">
          <ac:chgData name="Melaerts Frédéric" userId="S::frederic.melaerts@ond.vlaanderen.be::e63e2408-a9ae-43c8-8f5f-37811e9e956a" providerId="AD" clId="Web-{99471BD6-CC70-A023-BD5C-1C96D8423999}" dt="2024-07-09T06:55:04.797" v="3"/>
          <ac:spMkLst>
            <pc:docMk/>
            <pc:sldMk cId="3396145674" sldId="2142533192"/>
            <ac:spMk id="5" creationId="{2B0C2DD9-07ED-42E9-1E94-AEDAF612D055}"/>
          </ac:spMkLst>
        </pc:spChg>
        <pc:spChg chg="mod">
          <ac:chgData name="Melaerts Frédéric" userId="S::frederic.melaerts@ond.vlaanderen.be::e63e2408-a9ae-43c8-8f5f-37811e9e956a" providerId="AD" clId="Web-{99471BD6-CC70-A023-BD5C-1C96D8423999}" dt="2024-07-09T06:55:04.828" v="4"/>
          <ac:spMkLst>
            <pc:docMk/>
            <pc:sldMk cId="3396145674" sldId="2142533192"/>
            <ac:spMk id="6" creationId="{AAA75855-61A2-E571-CEFE-A03A0E51BAC7}"/>
          </ac:spMkLst>
        </pc:spChg>
        <pc:spChg chg="mod">
          <ac:chgData name="Melaerts Frédéric" userId="S::frederic.melaerts@ond.vlaanderen.be::e63e2408-a9ae-43c8-8f5f-37811e9e956a" providerId="AD" clId="Web-{99471BD6-CC70-A023-BD5C-1C96D8423999}" dt="2024-07-09T06:55:04.797" v="0"/>
          <ac:spMkLst>
            <pc:docMk/>
            <pc:sldMk cId="3396145674" sldId="2142533192"/>
            <ac:spMk id="19" creationId="{5DB1F33F-25BD-675A-271D-CB95AA355AB9}"/>
          </ac:spMkLst>
        </pc:spChg>
        <pc:spChg chg="mod">
          <ac:chgData name="Melaerts Frédéric" userId="S::frederic.melaerts@ond.vlaanderen.be::e63e2408-a9ae-43c8-8f5f-37811e9e956a" providerId="AD" clId="Web-{99471BD6-CC70-A023-BD5C-1C96D8423999}" dt="2024-07-09T06:55:04.797" v="2"/>
          <ac:spMkLst>
            <pc:docMk/>
            <pc:sldMk cId="3396145674" sldId="2142533192"/>
            <ac:spMk id="25" creationId="{E14A07EA-3340-01FB-470B-69F8E3248A28}"/>
          </ac:spMkLst>
        </pc:spChg>
      </pc:sldChg>
      <pc:sldChg chg="modSp">
        <pc:chgData name="Melaerts Frédéric" userId="S::frederic.melaerts@ond.vlaanderen.be::e63e2408-a9ae-43c8-8f5f-37811e9e956a" providerId="AD" clId="Web-{99471BD6-CC70-A023-BD5C-1C96D8423999}" dt="2024-07-09T06:56:05.361" v="6" actId="20577"/>
        <pc:sldMkLst>
          <pc:docMk/>
          <pc:sldMk cId="2973898293" sldId="2142533201"/>
        </pc:sldMkLst>
        <pc:spChg chg="mod">
          <ac:chgData name="Melaerts Frédéric" userId="S::frederic.melaerts@ond.vlaanderen.be::e63e2408-a9ae-43c8-8f5f-37811e9e956a" providerId="AD" clId="Web-{99471BD6-CC70-A023-BD5C-1C96D8423999}" dt="2024-07-09T06:56:05.361" v="6" actId="20577"/>
          <ac:spMkLst>
            <pc:docMk/>
            <pc:sldMk cId="2973898293" sldId="2142533201"/>
            <ac:spMk id="25" creationId="{C715EE4F-F7EC-4195-0824-ED3354BE2438}"/>
          </ac:spMkLst>
        </pc:spChg>
      </pc:sldChg>
    </pc:docChg>
  </pc:docChgLst>
  <pc:docChgLst>
    <pc:chgData name="Melaerts Frédéric" userId="e63e2408-a9ae-43c8-8f5f-37811e9e956a" providerId="ADAL" clId="{7B18185B-35CE-44C0-911D-6C70AFCC39ED}"/>
    <pc:docChg chg="undo redo custSel delSld modSld">
      <pc:chgData name="Melaerts Frédéric" userId="e63e2408-a9ae-43c8-8f5f-37811e9e956a" providerId="ADAL" clId="{7B18185B-35CE-44C0-911D-6C70AFCC39ED}" dt="2024-07-08T20:06:35.485" v="1382" actId="2711"/>
      <pc:docMkLst>
        <pc:docMk/>
      </pc:docMkLst>
      <pc:sldChg chg="addSp delSp modSp mod modAnim modNotesTx">
        <pc:chgData name="Melaerts Frédéric" userId="e63e2408-a9ae-43c8-8f5f-37811e9e956a" providerId="ADAL" clId="{7B18185B-35CE-44C0-911D-6C70AFCC39ED}" dt="2024-07-08T20:06:27.283" v="1381" actId="2711"/>
        <pc:sldMkLst>
          <pc:docMk/>
          <pc:sldMk cId="3274796696" sldId="2142533182"/>
        </pc:sldMkLst>
        <pc:spChg chg="mod">
          <ac:chgData name="Melaerts Frédéric" userId="e63e2408-a9ae-43c8-8f5f-37811e9e956a" providerId="ADAL" clId="{7B18185B-35CE-44C0-911D-6C70AFCC39ED}" dt="2024-07-08T20:06:27.283" v="1381" actId="2711"/>
          <ac:spMkLst>
            <pc:docMk/>
            <pc:sldMk cId="3274796696" sldId="2142533182"/>
            <ac:spMk id="2" creationId="{11112FBC-DFFE-ACF2-47A4-8CD7ABA20CF0}"/>
          </ac:spMkLst>
        </pc:spChg>
        <pc:spChg chg="mod">
          <ac:chgData name="Melaerts Frédéric" userId="e63e2408-a9ae-43c8-8f5f-37811e9e956a" providerId="ADAL" clId="{7B18185B-35CE-44C0-911D-6C70AFCC39ED}" dt="2024-07-08T20:06:27.283" v="1381" actId="2711"/>
          <ac:spMkLst>
            <pc:docMk/>
            <pc:sldMk cId="3274796696" sldId="2142533182"/>
            <ac:spMk id="4" creationId="{15F6E2AD-0A0C-5621-0654-0E8112305882}"/>
          </ac:spMkLst>
        </pc:spChg>
        <pc:spChg chg="mod">
          <ac:chgData name="Melaerts Frédéric" userId="e63e2408-a9ae-43c8-8f5f-37811e9e956a" providerId="ADAL" clId="{7B18185B-35CE-44C0-911D-6C70AFCC39ED}" dt="2024-07-08T20:06:27.283" v="1381" actId="2711"/>
          <ac:spMkLst>
            <pc:docMk/>
            <pc:sldMk cId="3274796696" sldId="2142533182"/>
            <ac:spMk id="7" creationId="{DF23D407-C8D3-488B-2DAB-C8B546989A0E}"/>
          </ac:spMkLst>
        </pc:spChg>
        <pc:spChg chg="mod">
          <ac:chgData name="Melaerts Frédéric" userId="e63e2408-a9ae-43c8-8f5f-37811e9e956a" providerId="ADAL" clId="{7B18185B-35CE-44C0-911D-6C70AFCC39ED}" dt="2024-07-08T20:06:27.283" v="1381" actId="2711"/>
          <ac:spMkLst>
            <pc:docMk/>
            <pc:sldMk cId="3274796696" sldId="2142533182"/>
            <ac:spMk id="9" creationId="{420C4F04-6272-B1AB-4FFC-6AA6B9B29806}"/>
          </ac:spMkLst>
        </pc:spChg>
        <pc:spChg chg="mod">
          <ac:chgData name="Melaerts Frédéric" userId="e63e2408-a9ae-43c8-8f5f-37811e9e956a" providerId="ADAL" clId="{7B18185B-35CE-44C0-911D-6C70AFCC39ED}" dt="2024-07-08T20:06:27.283" v="1381" actId="2711"/>
          <ac:spMkLst>
            <pc:docMk/>
            <pc:sldMk cId="3274796696" sldId="2142533182"/>
            <ac:spMk id="28" creationId="{96D866F3-B9AC-71DD-F0D3-41449610F414}"/>
          </ac:spMkLst>
        </pc:spChg>
        <pc:spChg chg="add mod">
          <ac:chgData name="Melaerts Frédéric" userId="e63e2408-a9ae-43c8-8f5f-37811e9e956a" providerId="ADAL" clId="{7B18185B-35CE-44C0-911D-6C70AFCC39ED}" dt="2024-07-08T20:06:27.283" v="1381" actId="2711"/>
          <ac:spMkLst>
            <pc:docMk/>
            <pc:sldMk cId="3274796696" sldId="2142533182"/>
            <ac:spMk id="1024" creationId="{AA1AE1C3-480A-DB28-FF7D-B77103510A68}"/>
          </ac:spMkLst>
        </pc:spChg>
        <pc:spChg chg="mod">
          <ac:chgData name="Melaerts Frédéric" userId="e63e2408-a9ae-43c8-8f5f-37811e9e956a" providerId="ADAL" clId="{7B18185B-35CE-44C0-911D-6C70AFCC39ED}" dt="2024-07-08T20:06:27.283" v="1381" actId="2711"/>
          <ac:spMkLst>
            <pc:docMk/>
            <pc:sldMk cId="3274796696" sldId="2142533182"/>
            <ac:spMk id="1054" creationId="{37E904A9-71AC-8FC4-CE11-6EAEB97C7987}"/>
          </ac:spMkLst>
        </pc:spChg>
        <pc:spChg chg="mod">
          <ac:chgData name="Melaerts Frédéric" userId="e63e2408-a9ae-43c8-8f5f-37811e9e956a" providerId="ADAL" clId="{7B18185B-35CE-44C0-911D-6C70AFCC39ED}" dt="2024-07-08T20:06:27.283" v="1381" actId="2711"/>
          <ac:spMkLst>
            <pc:docMk/>
            <pc:sldMk cId="3274796696" sldId="2142533182"/>
            <ac:spMk id="1055" creationId="{29C1D6F6-F640-A1AF-2674-615B0757471C}"/>
          </ac:spMkLst>
        </pc:spChg>
        <pc:spChg chg="mod">
          <ac:chgData name="Melaerts Frédéric" userId="e63e2408-a9ae-43c8-8f5f-37811e9e956a" providerId="ADAL" clId="{7B18185B-35CE-44C0-911D-6C70AFCC39ED}" dt="2024-07-08T09:58:37.582" v="28" actId="207"/>
          <ac:spMkLst>
            <pc:docMk/>
            <pc:sldMk cId="3274796696" sldId="2142533182"/>
            <ac:spMk id="1066" creationId="{DCD9F087-86E5-0D17-C8C1-9087E02716EC}"/>
          </ac:spMkLst>
        </pc:spChg>
        <pc:spChg chg="mod">
          <ac:chgData name="Melaerts Frédéric" userId="e63e2408-a9ae-43c8-8f5f-37811e9e956a" providerId="ADAL" clId="{7B18185B-35CE-44C0-911D-6C70AFCC39ED}" dt="2024-07-08T09:58:37.582" v="28" actId="207"/>
          <ac:spMkLst>
            <pc:docMk/>
            <pc:sldMk cId="3274796696" sldId="2142533182"/>
            <ac:spMk id="1068" creationId="{CFB2431B-DB83-7886-0980-8089B4459B58}"/>
          </ac:spMkLst>
        </pc:spChg>
        <pc:spChg chg="mod">
          <ac:chgData name="Melaerts Frédéric" userId="e63e2408-a9ae-43c8-8f5f-37811e9e956a" providerId="ADAL" clId="{7B18185B-35CE-44C0-911D-6C70AFCC39ED}" dt="2024-07-08T09:58:37.582" v="28" actId="207"/>
          <ac:spMkLst>
            <pc:docMk/>
            <pc:sldMk cId="3274796696" sldId="2142533182"/>
            <ac:spMk id="1071" creationId="{5A38A93B-0005-A32E-758D-98D4A05D7F18}"/>
          </ac:spMkLst>
        </pc:spChg>
        <pc:spChg chg="mod">
          <ac:chgData name="Melaerts Frédéric" userId="e63e2408-a9ae-43c8-8f5f-37811e9e956a" providerId="ADAL" clId="{7B18185B-35CE-44C0-911D-6C70AFCC39ED}" dt="2024-07-08T09:58:37.582" v="28" actId="207"/>
          <ac:spMkLst>
            <pc:docMk/>
            <pc:sldMk cId="3274796696" sldId="2142533182"/>
            <ac:spMk id="1072" creationId="{D388FB2E-E200-C421-86E3-B0335E5457C2}"/>
          </ac:spMkLst>
        </pc:spChg>
        <pc:spChg chg="mod">
          <ac:chgData name="Melaerts Frédéric" userId="e63e2408-a9ae-43c8-8f5f-37811e9e956a" providerId="ADAL" clId="{7B18185B-35CE-44C0-911D-6C70AFCC39ED}" dt="2024-07-08T09:58:37.582" v="28" actId="207"/>
          <ac:spMkLst>
            <pc:docMk/>
            <pc:sldMk cId="3274796696" sldId="2142533182"/>
            <ac:spMk id="1075" creationId="{001A14B1-822B-B99A-1437-F3BC2A8D25F6}"/>
          </ac:spMkLst>
        </pc:spChg>
        <pc:spChg chg="mod">
          <ac:chgData name="Melaerts Frédéric" userId="e63e2408-a9ae-43c8-8f5f-37811e9e956a" providerId="ADAL" clId="{7B18185B-35CE-44C0-911D-6C70AFCC39ED}" dt="2024-07-08T09:58:37.582" v="28" actId="207"/>
          <ac:spMkLst>
            <pc:docMk/>
            <pc:sldMk cId="3274796696" sldId="2142533182"/>
            <ac:spMk id="1076" creationId="{9B20DE57-3651-954F-0892-D91FA58D01E9}"/>
          </ac:spMkLst>
        </pc:spChg>
        <pc:spChg chg="mod">
          <ac:chgData name="Melaerts Frédéric" userId="e63e2408-a9ae-43c8-8f5f-37811e9e956a" providerId="ADAL" clId="{7B18185B-35CE-44C0-911D-6C70AFCC39ED}" dt="2024-07-08T20:06:27.283" v="1381" actId="2711"/>
          <ac:spMkLst>
            <pc:docMk/>
            <pc:sldMk cId="3274796696" sldId="2142533182"/>
            <ac:spMk id="1078" creationId="{8018215B-1E94-8AB7-C4F8-75A9DBCCDC63}"/>
          </ac:spMkLst>
        </pc:spChg>
        <pc:spChg chg="mod">
          <ac:chgData name="Melaerts Frédéric" userId="e63e2408-a9ae-43c8-8f5f-37811e9e956a" providerId="ADAL" clId="{7B18185B-35CE-44C0-911D-6C70AFCC39ED}" dt="2024-07-08T20:06:27.283" v="1381" actId="2711"/>
          <ac:spMkLst>
            <pc:docMk/>
            <pc:sldMk cId="3274796696" sldId="2142533182"/>
            <ac:spMk id="1079" creationId="{D8E9C168-F822-156C-963F-34445B1BBF49}"/>
          </ac:spMkLst>
        </pc:spChg>
        <pc:spChg chg="mod">
          <ac:chgData name="Melaerts Frédéric" userId="e63e2408-a9ae-43c8-8f5f-37811e9e956a" providerId="ADAL" clId="{7B18185B-35CE-44C0-911D-6C70AFCC39ED}" dt="2024-07-08T20:06:27.283" v="1381" actId="2711"/>
          <ac:spMkLst>
            <pc:docMk/>
            <pc:sldMk cId="3274796696" sldId="2142533182"/>
            <ac:spMk id="1080" creationId="{C66446CB-68A1-3F18-89A3-5933ABCAD352}"/>
          </ac:spMkLst>
        </pc:spChg>
        <pc:spChg chg="mod">
          <ac:chgData name="Melaerts Frédéric" userId="e63e2408-a9ae-43c8-8f5f-37811e9e956a" providerId="ADAL" clId="{7B18185B-35CE-44C0-911D-6C70AFCC39ED}" dt="2024-07-08T20:06:27.283" v="1381" actId="2711"/>
          <ac:spMkLst>
            <pc:docMk/>
            <pc:sldMk cId="3274796696" sldId="2142533182"/>
            <ac:spMk id="1081" creationId="{5059FBC7-1F74-F2DA-1D82-09301294204A}"/>
          </ac:spMkLst>
        </pc:spChg>
        <pc:spChg chg="mod">
          <ac:chgData name="Melaerts Frédéric" userId="e63e2408-a9ae-43c8-8f5f-37811e9e956a" providerId="ADAL" clId="{7B18185B-35CE-44C0-911D-6C70AFCC39ED}" dt="2024-07-08T20:06:27.283" v="1381" actId="2711"/>
          <ac:spMkLst>
            <pc:docMk/>
            <pc:sldMk cId="3274796696" sldId="2142533182"/>
            <ac:spMk id="1082" creationId="{5340D611-BFC5-D59B-DBA7-67893B9DF966}"/>
          </ac:spMkLst>
        </pc:spChg>
        <pc:spChg chg="mod">
          <ac:chgData name="Melaerts Frédéric" userId="e63e2408-a9ae-43c8-8f5f-37811e9e956a" providerId="ADAL" clId="{7B18185B-35CE-44C0-911D-6C70AFCC39ED}" dt="2024-07-08T09:58:55.289" v="30" actId="207"/>
          <ac:spMkLst>
            <pc:docMk/>
            <pc:sldMk cId="3274796696" sldId="2142533182"/>
            <ac:spMk id="1095" creationId="{C54D964F-2A56-9F17-C819-C2C496B7EB67}"/>
          </ac:spMkLst>
        </pc:spChg>
        <pc:spChg chg="mod">
          <ac:chgData name="Melaerts Frédéric" userId="e63e2408-a9ae-43c8-8f5f-37811e9e956a" providerId="ADAL" clId="{7B18185B-35CE-44C0-911D-6C70AFCC39ED}" dt="2024-07-08T20:06:27.283" v="1381" actId="2711"/>
          <ac:spMkLst>
            <pc:docMk/>
            <pc:sldMk cId="3274796696" sldId="2142533182"/>
            <ac:spMk id="1119" creationId="{D8E369E6-DB78-AE6A-E8D2-783F25657F8F}"/>
          </ac:spMkLst>
        </pc:spChg>
        <pc:grpChg chg="mod">
          <ac:chgData name="Melaerts Frédéric" userId="e63e2408-a9ae-43c8-8f5f-37811e9e956a" providerId="ADAL" clId="{7B18185B-35CE-44C0-911D-6C70AFCC39ED}" dt="2024-07-08T20:06:27.283" v="1381" actId="2711"/>
          <ac:grpSpMkLst>
            <pc:docMk/>
            <pc:sldMk cId="3274796696" sldId="2142533182"/>
            <ac:grpSpMk id="3" creationId="{A56A70D8-4C39-163B-D1D6-1900E3669D6D}"/>
          </ac:grpSpMkLst>
        </pc:grpChg>
        <pc:grpChg chg="mod">
          <ac:chgData name="Melaerts Frédéric" userId="e63e2408-a9ae-43c8-8f5f-37811e9e956a" providerId="ADAL" clId="{7B18185B-35CE-44C0-911D-6C70AFCC39ED}" dt="2024-07-08T20:06:27.283" v="1381" actId="2711"/>
          <ac:grpSpMkLst>
            <pc:docMk/>
            <pc:sldMk cId="3274796696" sldId="2142533182"/>
            <ac:grpSpMk id="13" creationId="{115F9FED-CB53-BE3B-D03A-421CBA2455B2}"/>
          </ac:grpSpMkLst>
        </pc:grpChg>
        <pc:grpChg chg="mod">
          <ac:chgData name="Melaerts Frédéric" userId="e63e2408-a9ae-43c8-8f5f-37811e9e956a" providerId="ADAL" clId="{7B18185B-35CE-44C0-911D-6C70AFCC39ED}" dt="2024-07-08T20:06:27.283" v="1381" actId="2711"/>
          <ac:grpSpMkLst>
            <pc:docMk/>
            <pc:sldMk cId="3274796696" sldId="2142533182"/>
            <ac:grpSpMk id="17" creationId="{BFBC4BDF-197E-2DD6-C45B-6251B673BB3D}"/>
          </ac:grpSpMkLst>
        </pc:grpChg>
        <pc:grpChg chg="mod">
          <ac:chgData name="Melaerts Frédéric" userId="e63e2408-a9ae-43c8-8f5f-37811e9e956a" providerId="ADAL" clId="{7B18185B-35CE-44C0-911D-6C70AFCC39ED}" dt="2024-07-08T20:06:27.283" v="1381" actId="2711"/>
          <ac:grpSpMkLst>
            <pc:docMk/>
            <pc:sldMk cId="3274796696" sldId="2142533182"/>
            <ac:grpSpMk id="20" creationId="{B1883220-D93C-8EF8-CB6A-F3F28EB7504E}"/>
          </ac:grpSpMkLst>
        </pc:grpChg>
        <pc:grpChg chg="mod">
          <ac:chgData name="Melaerts Frédéric" userId="e63e2408-a9ae-43c8-8f5f-37811e9e956a" providerId="ADAL" clId="{7B18185B-35CE-44C0-911D-6C70AFCC39ED}" dt="2024-07-08T20:06:27.283" v="1381" actId="2711"/>
          <ac:grpSpMkLst>
            <pc:docMk/>
            <pc:sldMk cId="3274796696" sldId="2142533182"/>
            <ac:grpSpMk id="1069" creationId="{1D490481-A622-5E43-AA4B-13E536D2FB89}"/>
          </ac:grpSpMkLst>
        </pc:grpChg>
        <pc:grpChg chg="mod">
          <ac:chgData name="Melaerts Frédéric" userId="e63e2408-a9ae-43c8-8f5f-37811e9e956a" providerId="ADAL" clId="{7B18185B-35CE-44C0-911D-6C70AFCC39ED}" dt="2024-07-08T20:06:27.283" v="1381" actId="2711"/>
          <ac:grpSpMkLst>
            <pc:docMk/>
            <pc:sldMk cId="3274796696" sldId="2142533182"/>
            <ac:grpSpMk id="1070" creationId="{24AE170A-99C3-B3D6-AB1B-2F661A799BC1}"/>
          </ac:grpSpMkLst>
        </pc:grpChg>
        <pc:grpChg chg="mod">
          <ac:chgData name="Melaerts Frédéric" userId="e63e2408-a9ae-43c8-8f5f-37811e9e956a" providerId="ADAL" clId="{7B18185B-35CE-44C0-911D-6C70AFCC39ED}" dt="2024-07-08T20:06:27.283" v="1381" actId="2711"/>
          <ac:grpSpMkLst>
            <pc:docMk/>
            <pc:sldMk cId="3274796696" sldId="2142533182"/>
            <ac:grpSpMk id="1074" creationId="{818671A3-943D-CC70-35EA-9FD14F4885C1}"/>
          </ac:grpSpMkLst>
        </pc:grpChg>
        <pc:picChg chg="del">
          <ac:chgData name="Melaerts Frédéric" userId="e63e2408-a9ae-43c8-8f5f-37811e9e956a" providerId="ADAL" clId="{7B18185B-35CE-44C0-911D-6C70AFCC39ED}" dt="2024-07-08T11:27:49.758" v="220" actId="478"/>
          <ac:picMkLst>
            <pc:docMk/>
            <pc:sldMk cId="3274796696" sldId="2142533182"/>
            <ac:picMk id="14" creationId="{57ABEA1F-BDB7-76C4-CFDD-57946B4D0B1E}"/>
          </ac:picMkLst>
        </pc:picChg>
        <pc:cxnChg chg="del mod">
          <ac:chgData name="Melaerts Frédéric" userId="e63e2408-a9ae-43c8-8f5f-37811e9e956a" providerId="ADAL" clId="{7B18185B-35CE-44C0-911D-6C70AFCC39ED}" dt="2024-07-08T11:31:07.385" v="223" actId="478"/>
          <ac:cxnSpMkLst>
            <pc:docMk/>
            <pc:sldMk cId="3274796696" sldId="2142533182"/>
            <ac:cxnSpMk id="5" creationId="{C3FA4FFC-1C1A-887B-60A1-45443BBF38AF}"/>
          </ac:cxnSpMkLst>
        </pc:cxnChg>
        <pc:cxnChg chg="add mod">
          <ac:chgData name="Melaerts Frédéric" userId="e63e2408-a9ae-43c8-8f5f-37811e9e956a" providerId="ADAL" clId="{7B18185B-35CE-44C0-911D-6C70AFCC39ED}" dt="2024-07-08T20:06:27.283" v="1381" actId="2711"/>
          <ac:cxnSpMkLst>
            <pc:docMk/>
            <pc:sldMk cId="3274796696" sldId="2142533182"/>
            <ac:cxnSpMk id="11" creationId="{35C1AA8B-3760-8E51-7849-B3B4D86710A0}"/>
          </ac:cxnSpMkLst>
        </pc:cxnChg>
        <pc:cxnChg chg="add mod">
          <ac:chgData name="Melaerts Frédéric" userId="e63e2408-a9ae-43c8-8f5f-37811e9e956a" providerId="ADAL" clId="{7B18185B-35CE-44C0-911D-6C70AFCC39ED}" dt="2024-07-08T20:06:27.283" v="1381" actId="2711"/>
          <ac:cxnSpMkLst>
            <pc:docMk/>
            <pc:sldMk cId="3274796696" sldId="2142533182"/>
            <ac:cxnSpMk id="1025" creationId="{508DAC72-094E-1BD7-C80E-C4C3D1795F40}"/>
          </ac:cxnSpMkLst>
        </pc:cxnChg>
        <pc:cxnChg chg="mod">
          <ac:chgData name="Melaerts Frédéric" userId="e63e2408-a9ae-43c8-8f5f-37811e9e956a" providerId="ADAL" clId="{7B18185B-35CE-44C0-911D-6C70AFCC39ED}" dt="2024-07-08T20:06:27.283" v="1381" actId="2711"/>
          <ac:cxnSpMkLst>
            <pc:docMk/>
            <pc:sldMk cId="3274796696" sldId="2142533182"/>
            <ac:cxnSpMk id="1084" creationId="{A40AEC1C-8446-66DE-3CA2-6B6F03408C50}"/>
          </ac:cxnSpMkLst>
        </pc:cxnChg>
        <pc:cxnChg chg="mod">
          <ac:chgData name="Melaerts Frédéric" userId="e63e2408-a9ae-43c8-8f5f-37811e9e956a" providerId="ADAL" clId="{7B18185B-35CE-44C0-911D-6C70AFCC39ED}" dt="2024-07-08T20:06:27.283" v="1381" actId="2711"/>
          <ac:cxnSpMkLst>
            <pc:docMk/>
            <pc:sldMk cId="3274796696" sldId="2142533182"/>
            <ac:cxnSpMk id="1085" creationId="{F1EA6A3F-7D0F-067A-D377-DBD3D18DF908}"/>
          </ac:cxnSpMkLst>
        </pc:cxnChg>
        <pc:cxnChg chg="mod">
          <ac:chgData name="Melaerts Frédéric" userId="e63e2408-a9ae-43c8-8f5f-37811e9e956a" providerId="ADAL" clId="{7B18185B-35CE-44C0-911D-6C70AFCC39ED}" dt="2024-07-08T20:06:27.283" v="1381" actId="2711"/>
          <ac:cxnSpMkLst>
            <pc:docMk/>
            <pc:sldMk cId="3274796696" sldId="2142533182"/>
            <ac:cxnSpMk id="1088" creationId="{56C0183F-BEBF-1763-21E5-690EFB047624}"/>
          </ac:cxnSpMkLst>
        </pc:cxnChg>
        <pc:cxnChg chg="mod">
          <ac:chgData name="Melaerts Frédéric" userId="e63e2408-a9ae-43c8-8f5f-37811e9e956a" providerId="ADAL" clId="{7B18185B-35CE-44C0-911D-6C70AFCC39ED}" dt="2024-07-08T20:06:27.283" v="1381" actId="2711"/>
          <ac:cxnSpMkLst>
            <pc:docMk/>
            <pc:sldMk cId="3274796696" sldId="2142533182"/>
            <ac:cxnSpMk id="1098" creationId="{F4B6B35A-5998-AE29-A332-DA2FDA233832}"/>
          </ac:cxnSpMkLst>
        </pc:cxnChg>
        <pc:cxnChg chg="mod">
          <ac:chgData name="Melaerts Frédéric" userId="e63e2408-a9ae-43c8-8f5f-37811e9e956a" providerId="ADAL" clId="{7B18185B-35CE-44C0-911D-6C70AFCC39ED}" dt="2024-07-08T20:06:27.283" v="1381" actId="2711"/>
          <ac:cxnSpMkLst>
            <pc:docMk/>
            <pc:sldMk cId="3274796696" sldId="2142533182"/>
            <ac:cxnSpMk id="1103" creationId="{B21C4F60-28D6-EB6C-B2FD-F0D80F6AD83D}"/>
          </ac:cxnSpMkLst>
        </pc:cxnChg>
        <pc:cxnChg chg="mod">
          <ac:chgData name="Melaerts Frédéric" userId="e63e2408-a9ae-43c8-8f5f-37811e9e956a" providerId="ADAL" clId="{7B18185B-35CE-44C0-911D-6C70AFCC39ED}" dt="2024-07-08T20:06:27.283" v="1381" actId="2711"/>
          <ac:cxnSpMkLst>
            <pc:docMk/>
            <pc:sldMk cId="3274796696" sldId="2142533182"/>
            <ac:cxnSpMk id="1106" creationId="{8ED45E7B-8D65-DC1C-609C-03B7678438D5}"/>
          </ac:cxnSpMkLst>
        </pc:cxnChg>
        <pc:cxnChg chg="mod">
          <ac:chgData name="Melaerts Frédéric" userId="e63e2408-a9ae-43c8-8f5f-37811e9e956a" providerId="ADAL" clId="{7B18185B-35CE-44C0-911D-6C70AFCC39ED}" dt="2024-07-08T20:06:27.283" v="1381" actId="2711"/>
          <ac:cxnSpMkLst>
            <pc:docMk/>
            <pc:sldMk cId="3274796696" sldId="2142533182"/>
            <ac:cxnSpMk id="1115" creationId="{C52C223A-EE05-F30D-3324-87CB9CBC8E67}"/>
          </ac:cxnSpMkLst>
        </pc:cxnChg>
      </pc:sldChg>
      <pc:sldChg chg="addSp modSp mod modNotesTx">
        <pc:chgData name="Melaerts Frédéric" userId="e63e2408-a9ae-43c8-8f5f-37811e9e956a" providerId="ADAL" clId="{7B18185B-35CE-44C0-911D-6C70AFCC39ED}" dt="2024-07-08T17:57:27.390" v="1374" actId="20577"/>
        <pc:sldMkLst>
          <pc:docMk/>
          <pc:sldMk cId="3063481063" sldId="2142533188"/>
        </pc:sldMkLst>
        <pc:spChg chg="mod">
          <ac:chgData name="Melaerts Frédéric" userId="e63e2408-a9ae-43c8-8f5f-37811e9e956a" providerId="ADAL" clId="{7B18185B-35CE-44C0-911D-6C70AFCC39ED}" dt="2024-07-08T10:00:16.694" v="37" actId="692"/>
          <ac:spMkLst>
            <pc:docMk/>
            <pc:sldMk cId="3063481063" sldId="2142533188"/>
            <ac:spMk id="4" creationId="{F21B17FB-DA6A-1FF3-20A2-26FCB572AC70}"/>
          </ac:spMkLst>
        </pc:spChg>
        <pc:spChg chg="add mod">
          <ac:chgData name="Melaerts Frédéric" userId="e63e2408-a9ae-43c8-8f5f-37811e9e956a" providerId="ADAL" clId="{7B18185B-35CE-44C0-911D-6C70AFCC39ED}" dt="2024-07-08T09:59:29.214" v="35" actId="571"/>
          <ac:spMkLst>
            <pc:docMk/>
            <pc:sldMk cId="3063481063" sldId="2142533188"/>
            <ac:spMk id="5" creationId="{40BA63CA-BD9C-D14B-79C9-9F233C3BCA21}"/>
          </ac:spMkLst>
        </pc:spChg>
        <pc:spChg chg="mod">
          <ac:chgData name="Melaerts Frédéric" userId="e63e2408-a9ae-43c8-8f5f-37811e9e956a" providerId="ADAL" clId="{7B18185B-35CE-44C0-911D-6C70AFCC39ED}" dt="2024-07-08T10:00:02.482" v="36" actId="2711"/>
          <ac:spMkLst>
            <pc:docMk/>
            <pc:sldMk cId="3063481063" sldId="2142533188"/>
            <ac:spMk id="6" creationId="{E67EA7E6-85C1-D6B6-998D-83ED00D2AB9D}"/>
          </ac:spMkLst>
        </pc:spChg>
        <pc:spChg chg="add mod">
          <ac:chgData name="Melaerts Frédéric" userId="e63e2408-a9ae-43c8-8f5f-37811e9e956a" providerId="ADAL" clId="{7B18185B-35CE-44C0-911D-6C70AFCC39ED}" dt="2024-07-08T09:59:29.214" v="35" actId="571"/>
          <ac:spMkLst>
            <pc:docMk/>
            <pc:sldMk cId="3063481063" sldId="2142533188"/>
            <ac:spMk id="7" creationId="{7092DB9B-6455-06F4-D36D-2F141A7D0BA4}"/>
          </ac:spMkLst>
        </pc:spChg>
        <pc:spChg chg="add mod">
          <ac:chgData name="Melaerts Frédéric" userId="e63e2408-a9ae-43c8-8f5f-37811e9e956a" providerId="ADAL" clId="{7B18185B-35CE-44C0-911D-6C70AFCC39ED}" dt="2024-07-08T09:59:29.214" v="35" actId="571"/>
          <ac:spMkLst>
            <pc:docMk/>
            <pc:sldMk cId="3063481063" sldId="2142533188"/>
            <ac:spMk id="8" creationId="{F67211ED-1308-82F9-F4AD-7AF8BD74167D}"/>
          </ac:spMkLst>
        </pc:spChg>
        <pc:spChg chg="mod">
          <ac:chgData name="Melaerts Frédéric" userId="e63e2408-a9ae-43c8-8f5f-37811e9e956a" providerId="ADAL" clId="{7B18185B-35CE-44C0-911D-6C70AFCC39ED}" dt="2024-07-08T10:01:43.098" v="41" actId="207"/>
          <ac:spMkLst>
            <pc:docMk/>
            <pc:sldMk cId="3063481063" sldId="2142533188"/>
            <ac:spMk id="9" creationId="{9FC04C7C-11D5-8BD7-C0DF-B00E18F1BE62}"/>
          </ac:spMkLst>
        </pc:spChg>
        <pc:spChg chg="add mod">
          <ac:chgData name="Melaerts Frédéric" userId="e63e2408-a9ae-43c8-8f5f-37811e9e956a" providerId="ADAL" clId="{7B18185B-35CE-44C0-911D-6C70AFCC39ED}" dt="2024-07-08T09:59:29.214" v="35" actId="571"/>
          <ac:spMkLst>
            <pc:docMk/>
            <pc:sldMk cId="3063481063" sldId="2142533188"/>
            <ac:spMk id="12" creationId="{1CFF4189-E350-7CB8-BAA0-F5C073065DB6}"/>
          </ac:spMkLst>
        </pc:spChg>
        <pc:spChg chg="add mod">
          <ac:chgData name="Melaerts Frédéric" userId="e63e2408-a9ae-43c8-8f5f-37811e9e956a" providerId="ADAL" clId="{7B18185B-35CE-44C0-911D-6C70AFCC39ED}" dt="2024-07-08T09:59:29.214" v="35" actId="571"/>
          <ac:spMkLst>
            <pc:docMk/>
            <pc:sldMk cId="3063481063" sldId="2142533188"/>
            <ac:spMk id="14" creationId="{3AAE97AC-7AC8-CD89-7E47-7844F416004C}"/>
          </ac:spMkLst>
        </pc:spChg>
        <pc:spChg chg="mod">
          <ac:chgData name="Melaerts Frédéric" userId="e63e2408-a9ae-43c8-8f5f-37811e9e956a" providerId="ADAL" clId="{7B18185B-35CE-44C0-911D-6C70AFCC39ED}" dt="2024-07-08T10:00:33.353" v="40" actId="207"/>
          <ac:spMkLst>
            <pc:docMk/>
            <pc:sldMk cId="3063481063" sldId="2142533188"/>
            <ac:spMk id="15" creationId="{8A9B3670-A4E9-164D-965F-F63A69B11E8D}"/>
          </ac:spMkLst>
        </pc:spChg>
        <pc:spChg chg="mod">
          <ac:chgData name="Melaerts Frédéric" userId="e63e2408-a9ae-43c8-8f5f-37811e9e956a" providerId="ADAL" clId="{7B18185B-35CE-44C0-911D-6C70AFCC39ED}" dt="2024-07-08T10:00:33.353" v="40" actId="207"/>
          <ac:spMkLst>
            <pc:docMk/>
            <pc:sldMk cId="3063481063" sldId="2142533188"/>
            <ac:spMk id="16" creationId="{CAD32DCA-ACC7-F215-D4E5-B2CA9312EA76}"/>
          </ac:spMkLst>
        </pc:spChg>
        <pc:spChg chg="mod">
          <ac:chgData name="Melaerts Frédéric" userId="e63e2408-a9ae-43c8-8f5f-37811e9e956a" providerId="ADAL" clId="{7B18185B-35CE-44C0-911D-6C70AFCC39ED}" dt="2024-07-08T17:18:37.517" v="1237" actId="14100"/>
          <ac:spMkLst>
            <pc:docMk/>
            <pc:sldMk cId="3063481063" sldId="2142533188"/>
            <ac:spMk id="17" creationId="{72018EB3-F83E-435F-2EA4-BCA7582F009E}"/>
          </ac:spMkLst>
        </pc:spChg>
        <pc:spChg chg="mod">
          <ac:chgData name="Melaerts Frédéric" userId="e63e2408-a9ae-43c8-8f5f-37811e9e956a" providerId="ADAL" clId="{7B18185B-35CE-44C0-911D-6C70AFCC39ED}" dt="2024-07-08T17:10:00.350" v="1223" actId="14100"/>
          <ac:spMkLst>
            <pc:docMk/>
            <pc:sldMk cId="3063481063" sldId="2142533188"/>
            <ac:spMk id="18" creationId="{1E536A87-00CB-7073-ED15-F1004D6D5312}"/>
          </ac:spMkLst>
        </pc:spChg>
        <pc:spChg chg="mod">
          <ac:chgData name="Melaerts Frédéric" userId="e63e2408-a9ae-43c8-8f5f-37811e9e956a" providerId="ADAL" clId="{7B18185B-35CE-44C0-911D-6C70AFCC39ED}" dt="2024-07-08T10:01:47.750" v="42" actId="207"/>
          <ac:spMkLst>
            <pc:docMk/>
            <pc:sldMk cId="3063481063" sldId="2142533188"/>
            <ac:spMk id="20" creationId="{95012503-2998-ABFC-7C89-9EFA97C7B3D5}"/>
          </ac:spMkLst>
        </pc:spChg>
        <pc:spChg chg="add mod">
          <ac:chgData name="Melaerts Frédéric" userId="e63e2408-a9ae-43c8-8f5f-37811e9e956a" providerId="ADAL" clId="{7B18185B-35CE-44C0-911D-6C70AFCC39ED}" dt="2024-07-08T09:59:29.214" v="35" actId="571"/>
          <ac:spMkLst>
            <pc:docMk/>
            <pc:sldMk cId="3063481063" sldId="2142533188"/>
            <ac:spMk id="21" creationId="{72EE270D-C89E-C525-E16B-014B7B4188DF}"/>
          </ac:spMkLst>
        </pc:spChg>
        <pc:spChg chg="add mod">
          <ac:chgData name="Melaerts Frédéric" userId="e63e2408-a9ae-43c8-8f5f-37811e9e956a" providerId="ADAL" clId="{7B18185B-35CE-44C0-911D-6C70AFCC39ED}" dt="2024-07-08T09:59:29.214" v="35" actId="571"/>
          <ac:spMkLst>
            <pc:docMk/>
            <pc:sldMk cId="3063481063" sldId="2142533188"/>
            <ac:spMk id="22" creationId="{2F942EF2-BC73-D2A7-6FA4-0EA74AAE870E}"/>
          </ac:spMkLst>
        </pc:spChg>
        <pc:spChg chg="mod">
          <ac:chgData name="Melaerts Frédéric" userId="e63e2408-a9ae-43c8-8f5f-37811e9e956a" providerId="ADAL" clId="{7B18185B-35CE-44C0-911D-6C70AFCC39ED}" dt="2024-07-08T10:00:02.482" v="36" actId="2711"/>
          <ac:spMkLst>
            <pc:docMk/>
            <pc:sldMk cId="3063481063" sldId="2142533188"/>
            <ac:spMk id="26" creationId="{A7CCC898-982B-FBEF-C972-6373CC137578}"/>
          </ac:spMkLst>
        </pc:spChg>
        <pc:spChg chg="mod">
          <ac:chgData name="Melaerts Frédéric" userId="e63e2408-a9ae-43c8-8f5f-37811e9e956a" providerId="ADAL" clId="{7B18185B-35CE-44C0-911D-6C70AFCC39ED}" dt="2024-07-08T10:10:08.147" v="168" actId="20577"/>
          <ac:spMkLst>
            <pc:docMk/>
            <pc:sldMk cId="3063481063" sldId="2142533188"/>
            <ac:spMk id="31" creationId="{660BA3BB-9EE2-72B2-06F9-ED65483CDC27}"/>
          </ac:spMkLst>
        </pc:spChg>
        <pc:spChg chg="mod">
          <ac:chgData name="Melaerts Frédéric" userId="e63e2408-a9ae-43c8-8f5f-37811e9e956a" providerId="ADAL" clId="{7B18185B-35CE-44C0-911D-6C70AFCC39ED}" dt="2024-07-08T10:00:02.482" v="36" actId="2711"/>
          <ac:spMkLst>
            <pc:docMk/>
            <pc:sldMk cId="3063481063" sldId="2142533188"/>
            <ac:spMk id="1024" creationId="{11F63193-120C-A1A2-898F-01493B3CE3A2}"/>
          </ac:spMkLst>
        </pc:spChg>
        <pc:spChg chg="mod">
          <ac:chgData name="Melaerts Frédéric" userId="e63e2408-a9ae-43c8-8f5f-37811e9e956a" providerId="ADAL" clId="{7B18185B-35CE-44C0-911D-6C70AFCC39ED}" dt="2024-07-08T10:01:51.459" v="43" actId="207"/>
          <ac:spMkLst>
            <pc:docMk/>
            <pc:sldMk cId="3063481063" sldId="2142533188"/>
            <ac:spMk id="1028" creationId="{3A5E673A-B1A3-C3C8-1317-87E312FBB5C3}"/>
          </ac:spMkLst>
        </pc:spChg>
        <pc:spChg chg="mod">
          <ac:chgData name="Melaerts Frédéric" userId="e63e2408-a9ae-43c8-8f5f-37811e9e956a" providerId="ADAL" clId="{7B18185B-35CE-44C0-911D-6C70AFCC39ED}" dt="2024-07-08T17:09:54.869" v="1221" actId="1076"/>
          <ac:spMkLst>
            <pc:docMk/>
            <pc:sldMk cId="3063481063" sldId="2142533188"/>
            <ac:spMk id="1029" creationId="{922A2AEE-EE64-7676-0037-50B76B4E1E16}"/>
          </ac:spMkLst>
        </pc:spChg>
        <pc:spChg chg="mod">
          <ac:chgData name="Melaerts Frédéric" userId="e63e2408-a9ae-43c8-8f5f-37811e9e956a" providerId="ADAL" clId="{7B18185B-35CE-44C0-911D-6C70AFCC39ED}" dt="2024-07-08T17:10:08.919" v="1225" actId="1076"/>
          <ac:spMkLst>
            <pc:docMk/>
            <pc:sldMk cId="3063481063" sldId="2142533188"/>
            <ac:spMk id="1031" creationId="{ECABF158-2972-5345-3D91-7B10DC2CB36E}"/>
          </ac:spMkLst>
        </pc:spChg>
        <pc:spChg chg="mod">
          <ac:chgData name="Melaerts Frédéric" userId="e63e2408-a9ae-43c8-8f5f-37811e9e956a" providerId="ADAL" clId="{7B18185B-35CE-44C0-911D-6C70AFCC39ED}" dt="2024-07-08T17:18:45.060" v="1238" actId="14100"/>
          <ac:spMkLst>
            <pc:docMk/>
            <pc:sldMk cId="3063481063" sldId="2142533188"/>
            <ac:spMk id="1033" creationId="{541A264D-4DFE-B878-EC3C-20C93CED6F5E}"/>
          </ac:spMkLst>
        </pc:spChg>
        <pc:spChg chg="mod">
          <ac:chgData name="Melaerts Frédéric" userId="e63e2408-a9ae-43c8-8f5f-37811e9e956a" providerId="ADAL" clId="{7B18185B-35CE-44C0-911D-6C70AFCC39ED}" dt="2024-07-08T10:00:02.482" v="36" actId="2711"/>
          <ac:spMkLst>
            <pc:docMk/>
            <pc:sldMk cId="3063481063" sldId="2142533188"/>
            <ac:spMk id="1034" creationId="{0C62CDE2-8AEF-A46B-2A9B-3AD88AA6172D}"/>
          </ac:spMkLst>
        </pc:spChg>
        <pc:spChg chg="mod">
          <ac:chgData name="Melaerts Frédéric" userId="e63e2408-a9ae-43c8-8f5f-37811e9e956a" providerId="ADAL" clId="{7B18185B-35CE-44C0-911D-6C70AFCC39ED}" dt="2024-07-08T10:00:02.482" v="36" actId="2711"/>
          <ac:spMkLst>
            <pc:docMk/>
            <pc:sldMk cId="3063481063" sldId="2142533188"/>
            <ac:spMk id="1035" creationId="{BE9BCCD4-B54C-040F-A9AA-5804EF08F40D}"/>
          </ac:spMkLst>
        </pc:spChg>
        <pc:spChg chg="mod">
          <ac:chgData name="Melaerts Frédéric" userId="e63e2408-a9ae-43c8-8f5f-37811e9e956a" providerId="ADAL" clId="{7B18185B-35CE-44C0-911D-6C70AFCC39ED}" dt="2024-07-08T17:19:19.166" v="1239" actId="1038"/>
          <ac:spMkLst>
            <pc:docMk/>
            <pc:sldMk cId="3063481063" sldId="2142533188"/>
            <ac:spMk id="1036" creationId="{BADC2405-7C93-F786-8B76-878542B98620}"/>
          </ac:spMkLst>
        </pc:spChg>
        <pc:spChg chg="mod">
          <ac:chgData name="Melaerts Frédéric" userId="e63e2408-a9ae-43c8-8f5f-37811e9e956a" providerId="ADAL" clId="{7B18185B-35CE-44C0-911D-6C70AFCC39ED}" dt="2024-07-08T10:00:02.482" v="36" actId="2711"/>
          <ac:spMkLst>
            <pc:docMk/>
            <pc:sldMk cId="3063481063" sldId="2142533188"/>
            <ac:spMk id="1037" creationId="{4ADAAD9F-33B4-481E-1F44-BFBDB70EFBC6}"/>
          </ac:spMkLst>
        </pc:spChg>
        <pc:spChg chg="mod">
          <ac:chgData name="Melaerts Frédéric" userId="e63e2408-a9ae-43c8-8f5f-37811e9e956a" providerId="ADAL" clId="{7B18185B-35CE-44C0-911D-6C70AFCC39ED}" dt="2024-07-08T10:00:02.482" v="36" actId="2711"/>
          <ac:spMkLst>
            <pc:docMk/>
            <pc:sldMk cId="3063481063" sldId="2142533188"/>
            <ac:spMk id="1038" creationId="{1C648F40-9E44-3EDF-2A48-235AF3759C45}"/>
          </ac:spMkLst>
        </pc:spChg>
        <pc:spChg chg="mod">
          <ac:chgData name="Melaerts Frédéric" userId="e63e2408-a9ae-43c8-8f5f-37811e9e956a" providerId="ADAL" clId="{7B18185B-35CE-44C0-911D-6C70AFCC39ED}" dt="2024-07-08T10:00:02.482" v="36" actId="2711"/>
          <ac:spMkLst>
            <pc:docMk/>
            <pc:sldMk cId="3063481063" sldId="2142533188"/>
            <ac:spMk id="1039" creationId="{9B77A22D-5B72-A27C-1A20-5122FAE5278D}"/>
          </ac:spMkLst>
        </pc:spChg>
        <pc:spChg chg="mod">
          <ac:chgData name="Melaerts Frédéric" userId="e63e2408-a9ae-43c8-8f5f-37811e9e956a" providerId="ADAL" clId="{7B18185B-35CE-44C0-911D-6C70AFCC39ED}" dt="2024-07-08T10:02:10.711" v="48" actId="207"/>
          <ac:spMkLst>
            <pc:docMk/>
            <pc:sldMk cId="3063481063" sldId="2142533188"/>
            <ac:spMk id="1041" creationId="{452BA702-AB81-01C8-D874-F59E05D5FB39}"/>
          </ac:spMkLst>
        </pc:spChg>
        <pc:spChg chg="mod">
          <ac:chgData name="Melaerts Frédéric" userId="e63e2408-a9ae-43c8-8f5f-37811e9e956a" providerId="ADAL" clId="{7B18185B-35CE-44C0-911D-6C70AFCC39ED}" dt="2024-07-08T10:02:06.145" v="47" actId="207"/>
          <ac:spMkLst>
            <pc:docMk/>
            <pc:sldMk cId="3063481063" sldId="2142533188"/>
            <ac:spMk id="1042" creationId="{1EB2C42A-E054-5CB1-47C9-40E0DAD0C22A}"/>
          </ac:spMkLst>
        </pc:spChg>
        <pc:spChg chg="mod">
          <ac:chgData name="Melaerts Frédéric" userId="e63e2408-a9ae-43c8-8f5f-37811e9e956a" providerId="ADAL" clId="{7B18185B-35CE-44C0-911D-6C70AFCC39ED}" dt="2024-07-08T10:02:15.929" v="49" actId="207"/>
          <ac:spMkLst>
            <pc:docMk/>
            <pc:sldMk cId="3063481063" sldId="2142533188"/>
            <ac:spMk id="1045" creationId="{E02C44CD-F954-140F-99DE-2DCCFA8F9979}"/>
          </ac:spMkLst>
        </pc:spChg>
        <pc:spChg chg="mod">
          <ac:chgData name="Melaerts Frédéric" userId="e63e2408-a9ae-43c8-8f5f-37811e9e956a" providerId="ADAL" clId="{7B18185B-35CE-44C0-911D-6C70AFCC39ED}" dt="2024-07-08T10:10:23.337" v="172" actId="6549"/>
          <ac:spMkLst>
            <pc:docMk/>
            <pc:sldMk cId="3063481063" sldId="2142533188"/>
            <ac:spMk id="1047" creationId="{802B09F5-698D-8C07-B832-64C31DEBBCB9}"/>
          </ac:spMkLst>
        </pc:spChg>
        <pc:spChg chg="mod">
          <ac:chgData name="Melaerts Frédéric" userId="e63e2408-a9ae-43c8-8f5f-37811e9e956a" providerId="ADAL" clId="{7B18185B-35CE-44C0-911D-6C70AFCC39ED}" dt="2024-07-08T10:00:02.482" v="36" actId="2711"/>
          <ac:spMkLst>
            <pc:docMk/>
            <pc:sldMk cId="3063481063" sldId="2142533188"/>
            <ac:spMk id="1048" creationId="{48BFC739-3D25-218B-DF46-CA13915884A1}"/>
          </ac:spMkLst>
        </pc:spChg>
        <pc:spChg chg="mod">
          <ac:chgData name="Melaerts Frédéric" userId="e63e2408-a9ae-43c8-8f5f-37811e9e956a" providerId="ADAL" clId="{7B18185B-35CE-44C0-911D-6C70AFCC39ED}" dt="2024-07-08T10:02:32.442" v="52" actId="207"/>
          <ac:spMkLst>
            <pc:docMk/>
            <pc:sldMk cId="3063481063" sldId="2142533188"/>
            <ac:spMk id="1051" creationId="{60E2FA1B-1BB7-5906-DF16-9D99D8F11047}"/>
          </ac:spMkLst>
        </pc:spChg>
        <pc:spChg chg="mod">
          <ac:chgData name="Melaerts Frédéric" userId="e63e2408-a9ae-43c8-8f5f-37811e9e956a" providerId="ADAL" clId="{7B18185B-35CE-44C0-911D-6C70AFCC39ED}" dt="2024-07-08T17:10:32.843" v="1231" actId="14100"/>
          <ac:spMkLst>
            <pc:docMk/>
            <pc:sldMk cId="3063481063" sldId="2142533188"/>
            <ac:spMk id="1074" creationId="{BFE16752-5EA8-BB51-55F6-8682C44D5154}"/>
          </ac:spMkLst>
        </pc:spChg>
        <pc:spChg chg="mod">
          <ac:chgData name="Melaerts Frédéric" userId="e63e2408-a9ae-43c8-8f5f-37811e9e956a" providerId="ADAL" clId="{7B18185B-35CE-44C0-911D-6C70AFCC39ED}" dt="2024-07-08T10:02:28.196" v="51" actId="207"/>
          <ac:spMkLst>
            <pc:docMk/>
            <pc:sldMk cId="3063481063" sldId="2142533188"/>
            <ac:spMk id="1095" creationId="{C54D964F-2A56-9F17-C819-C2C496B7EB67}"/>
          </ac:spMkLst>
        </pc:spChg>
        <pc:grpChg chg="mod">
          <ac:chgData name="Melaerts Frédéric" userId="e63e2408-a9ae-43c8-8f5f-37811e9e956a" providerId="ADAL" clId="{7B18185B-35CE-44C0-911D-6C70AFCC39ED}" dt="2024-07-08T10:00:02.482" v="36" actId="2711"/>
          <ac:grpSpMkLst>
            <pc:docMk/>
            <pc:sldMk cId="3063481063" sldId="2142533188"/>
            <ac:grpSpMk id="2" creationId="{5CAD8FC9-3629-804C-688E-6B3B35A8080A}"/>
          </ac:grpSpMkLst>
        </pc:grpChg>
        <pc:grpChg chg="mod">
          <ac:chgData name="Melaerts Frédéric" userId="e63e2408-a9ae-43c8-8f5f-37811e9e956a" providerId="ADAL" clId="{7B18185B-35CE-44C0-911D-6C70AFCC39ED}" dt="2024-07-08T10:00:02.482" v="36" actId="2711"/>
          <ac:grpSpMkLst>
            <pc:docMk/>
            <pc:sldMk cId="3063481063" sldId="2142533188"/>
            <ac:grpSpMk id="3" creationId="{A56A70D8-4C39-163B-D1D6-1900E3669D6D}"/>
          </ac:grpSpMkLst>
        </pc:grpChg>
        <pc:grpChg chg="mod">
          <ac:chgData name="Melaerts Frédéric" userId="e63e2408-a9ae-43c8-8f5f-37811e9e956a" providerId="ADAL" clId="{7B18185B-35CE-44C0-911D-6C70AFCC39ED}" dt="2024-07-08T10:00:02.482" v="36" actId="2711"/>
          <ac:grpSpMkLst>
            <pc:docMk/>
            <pc:sldMk cId="3063481063" sldId="2142533188"/>
            <ac:grpSpMk id="1050" creationId="{7A0BAB20-8599-7CB0-E971-2B9A4A6FBF4D}"/>
          </ac:grpSpMkLst>
        </pc:grpChg>
        <pc:grpChg chg="mod">
          <ac:chgData name="Melaerts Frédéric" userId="e63e2408-a9ae-43c8-8f5f-37811e9e956a" providerId="ADAL" clId="{7B18185B-35CE-44C0-911D-6C70AFCC39ED}" dt="2024-07-08T10:00:02.482" v="36" actId="2711"/>
          <ac:grpSpMkLst>
            <pc:docMk/>
            <pc:sldMk cId="3063481063" sldId="2142533188"/>
            <ac:grpSpMk id="1056" creationId="{1A528067-9012-74A6-70D4-8C51600403BA}"/>
          </ac:grpSpMkLst>
        </pc:grpChg>
        <pc:grpChg chg="mod">
          <ac:chgData name="Melaerts Frédéric" userId="e63e2408-a9ae-43c8-8f5f-37811e9e956a" providerId="ADAL" clId="{7B18185B-35CE-44C0-911D-6C70AFCC39ED}" dt="2024-07-08T10:00:02.482" v="36" actId="2711"/>
          <ac:grpSpMkLst>
            <pc:docMk/>
            <pc:sldMk cId="3063481063" sldId="2142533188"/>
            <ac:grpSpMk id="1057" creationId="{A6A632EB-ED07-3A65-0F0A-2704B67D64FC}"/>
          </ac:grpSpMkLst>
        </pc:grpChg>
        <pc:grpChg chg="mod">
          <ac:chgData name="Melaerts Frédéric" userId="e63e2408-a9ae-43c8-8f5f-37811e9e956a" providerId="ADAL" clId="{7B18185B-35CE-44C0-911D-6C70AFCC39ED}" dt="2024-07-08T10:00:02.482" v="36" actId="2711"/>
          <ac:grpSpMkLst>
            <pc:docMk/>
            <pc:sldMk cId="3063481063" sldId="2142533188"/>
            <ac:grpSpMk id="1058" creationId="{C6E392D9-4A07-8CC4-492D-FBF656CEB15F}"/>
          </ac:grpSpMkLst>
        </pc:grpChg>
        <pc:grpChg chg="mod">
          <ac:chgData name="Melaerts Frédéric" userId="e63e2408-a9ae-43c8-8f5f-37811e9e956a" providerId="ADAL" clId="{7B18185B-35CE-44C0-911D-6C70AFCC39ED}" dt="2024-07-08T10:00:02.482" v="36" actId="2711"/>
          <ac:grpSpMkLst>
            <pc:docMk/>
            <pc:sldMk cId="3063481063" sldId="2142533188"/>
            <ac:grpSpMk id="1059" creationId="{243108AB-0CBB-2E32-AEB0-AF95A858D228}"/>
          </ac:grpSpMkLst>
        </pc:grpChg>
        <pc:grpChg chg="mod">
          <ac:chgData name="Melaerts Frédéric" userId="e63e2408-a9ae-43c8-8f5f-37811e9e956a" providerId="ADAL" clId="{7B18185B-35CE-44C0-911D-6C70AFCC39ED}" dt="2024-07-08T10:00:02.482" v="36" actId="2711"/>
          <ac:grpSpMkLst>
            <pc:docMk/>
            <pc:sldMk cId="3063481063" sldId="2142533188"/>
            <ac:grpSpMk id="1060" creationId="{04805EB3-2CF6-924B-9EFB-ECA89F4F2CED}"/>
          </ac:grpSpMkLst>
        </pc:grpChg>
        <pc:cxnChg chg="mod">
          <ac:chgData name="Melaerts Frédéric" userId="e63e2408-a9ae-43c8-8f5f-37811e9e956a" providerId="ADAL" clId="{7B18185B-35CE-44C0-911D-6C70AFCC39ED}" dt="2024-07-08T10:02:20.825" v="50" actId="208"/>
          <ac:cxnSpMkLst>
            <pc:docMk/>
            <pc:sldMk cId="3063481063" sldId="2142533188"/>
            <ac:cxnSpMk id="1065" creationId="{9CAD17BA-7B7B-2E5F-B2E0-89D502BA0783}"/>
          </ac:cxnSpMkLst>
        </pc:cxnChg>
      </pc:sldChg>
      <pc:sldChg chg="addSp modSp mod modAnim modNotesTx">
        <pc:chgData name="Melaerts Frédéric" userId="e63e2408-a9ae-43c8-8f5f-37811e9e956a" providerId="ADAL" clId="{7B18185B-35CE-44C0-911D-6C70AFCC39ED}" dt="2024-07-08T16:41:02.012" v="967" actId="20577"/>
        <pc:sldMkLst>
          <pc:docMk/>
          <pc:sldMk cId="3396145674" sldId="2142533192"/>
        </pc:sldMkLst>
        <pc:spChg chg="add mod">
          <ac:chgData name="Melaerts Frédéric" userId="e63e2408-a9ae-43c8-8f5f-37811e9e956a" providerId="ADAL" clId="{7B18185B-35CE-44C0-911D-6C70AFCC39ED}" dt="2024-07-08T16:36:53.824" v="624"/>
          <ac:spMkLst>
            <pc:docMk/>
            <pc:sldMk cId="3396145674" sldId="2142533192"/>
            <ac:spMk id="2" creationId="{84D00D0A-E62F-BA9A-4950-99888282905F}"/>
          </ac:spMkLst>
        </pc:spChg>
        <pc:spChg chg="add mod">
          <ac:chgData name="Melaerts Frédéric" userId="e63e2408-a9ae-43c8-8f5f-37811e9e956a" providerId="ADAL" clId="{7B18185B-35CE-44C0-911D-6C70AFCC39ED}" dt="2024-07-08T16:37:00.538" v="627" actId="1076"/>
          <ac:spMkLst>
            <pc:docMk/>
            <pc:sldMk cId="3396145674" sldId="2142533192"/>
            <ac:spMk id="3" creationId="{DC17782B-ECE0-87EB-1E67-043E71580033}"/>
          </ac:spMkLst>
        </pc:spChg>
        <pc:spChg chg="mod">
          <ac:chgData name="Melaerts Frédéric" userId="e63e2408-a9ae-43c8-8f5f-37811e9e956a" providerId="ADAL" clId="{7B18185B-35CE-44C0-911D-6C70AFCC39ED}" dt="2024-07-08T16:38:51.502" v="703" actId="20577"/>
          <ac:spMkLst>
            <pc:docMk/>
            <pc:sldMk cId="3396145674" sldId="2142533192"/>
            <ac:spMk id="4" creationId="{C5AB30C6-CCB0-3586-9922-2F383BFB2A22}"/>
          </ac:spMkLst>
        </pc:spChg>
        <pc:spChg chg="add mod">
          <ac:chgData name="Melaerts Frédéric" userId="e63e2408-a9ae-43c8-8f5f-37811e9e956a" providerId="ADAL" clId="{7B18185B-35CE-44C0-911D-6C70AFCC39ED}" dt="2024-07-08T16:38:20.223" v="693" actId="1076"/>
          <ac:spMkLst>
            <pc:docMk/>
            <pc:sldMk cId="3396145674" sldId="2142533192"/>
            <ac:spMk id="5" creationId="{2B0C2DD9-07ED-42E9-1E94-AEDAF612D055}"/>
          </ac:spMkLst>
        </pc:spChg>
        <pc:spChg chg="add mod">
          <ac:chgData name="Melaerts Frédéric" userId="e63e2408-a9ae-43c8-8f5f-37811e9e956a" providerId="ADAL" clId="{7B18185B-35CE-44C0-911D-6C70AFCC39ED}" dt="2024-07-08T16:38:13.886" v="692" actId="1076"/>
          <ac:spMkLst>
            <pc:docMk/>
            <pc:sldMk cId="3396145674" sldId="2142533192"/>
            <ac:spMk id="6" creationId="{AAA75855-61A2-E571-CEFE-A03A0E51BAC7}"/>
          </ac:spMkLst>
        </pc:spChg>
        <pc:spChg chg="mod">
          <ac:chgData name="Melaerts Frédéric" userId="e63e2408-a9ae-43c8-8f5f-37811e9e956a" providerId="ADAL" clId="{7B18185B-35CE-44C0-911D-6C70AFCC39ED}" dt="2024-07-08T11:27:24.154" v="219" actId="1036"/>
          <ac:spMkLst>
            <pc:docMk/>
            <pc:sldMk cId="3396145674" sldId="2142533192"/>
            <ac:spMk id="15" creationId="{384E6C96-BC31-672C-C9BF-2A04EA025FE9}"/>
          </ac:spMkLst>
        </pc:spChg>
        <pc:spChg chg="mod">
          <ac:chgData name="Melaerts Frédéric" userId="e63e2408-a9ae-43c8-8f5f-37811e9e956a" providerId="ADAL" clId="{7B18185B-35CE-44C0-911D-6C70AFCC39ED}" dt="2024-07-08T16:37:55.105" v="652" actId="1076"/>
          <ac:spMkLst>
            <pc:docMk/>
            <pc:sldMk cId="3396145674" sldId="2142533192"/>
            <ac:spMk id="16" creationId="{6F9F741B-8E68-5B29-BF01-A730C072293A}"/>
          </ac:spMkLst>
        </pc:spChg>
        <pc:spChg chg="mod">
          <ac:chgData name="Melaerts Frédéric" userId="e63e2408-a9ae-43c8-8f5f-37811e9e956a" providerId="ADAL" clId="{7B18185B-35CE-44C0-911D-6C70AFCC39ED}" dt="2024-07-08T09:58:21.482" v="26" actId="207"/>
          <ac:spMkLst>
            <pc:docMk/>
            <pc:sldMk cId="3396145674" sldId="2142533192"/>
            <ac:spMk id="18" creationId="{6802A270-E53D-3E53-5E2A-EE26B8022373}"/>
          </ac:spMkLst>
        </pc:spChg>
        <pc:spChg chg="mod">
          <ac:chgData name="Melaerts Frédéric" userId="e63e2408-a9ae-43c8-8f5f-37811e9e956a" providerId="ADAL" clId="{7B18185B-35CE-44C0-911D-6C70AFCC39ED}" dt="2024-07-08T09:58:21.482" v="26" actId="207"/>
          <ac:spMkLst>
            <pc:docMk/>
            <pc:sldMk cId="3396145674" sldId="2142533192"/>
            <ac:spMk id="20" creationId="{52019464-F830-691A-5073-14FD4F803464}"/>
          </ac:spMkLst>
        </pc:spChg>
        <pc:spChg chg="mod">
          <ac:chgData name="Melaerts Frédéric" userId="e63e2408-a9ae-43c8-8f5f-37811e9e956a" providerId="ADAL" clId="{7B18185B-35CE-44C0-911D-6C70AFCC39ED}" dt="2024-07-08T09:58:30.781" v="27" actId="207"/>
          <ac:spMkLst>
            <pc:docMk/>
            <pc:sldMk cId="3396145674" sldId="2142533192"/>
            <ac:spMk id="25" creationId="{E14A07EA-3340-01FB-470B-69F8E3248A28}"/>
          </ac:spMkLst>
        </pc:spChg>
      </pc:sldChg>
      <pc:sldChg chg="addSp delSp modSp mod">
        <pc:chgData name="Melaerts Frédéric" userId="e63e2408-a9ae-43c8-8f5f-37811e9e956a" providerId="ADAL" clId="{7B18185B-35CE-44C0-911D-6C70AFCC39ED}" dt="2024-07-08T20:06:35.485" v="1382" actId="2711"/>
        <pc:sldMkLst>
          <pc:docMk/>
          <pc:sldMk cId="3718310612" sldId="2142533194"/>
        </pc:sldMkLst>
        <pc:spChg chg="mod">
          <ac:chgData name="Melaerts Frédéric" userId="e63e2408-a9ae-43c8-8f5f-37811e9e956a" providerId="ADAL" clId="{7B18185B-35CE-44C0-911D-6C70AFCC39ED}" dt="2024-07-08T16:34:30.729" v="601" actId="164"/>
          <ac:spMkLst>
            <pc:docMk/>
            <pc:sldMk cId="3718310612" sldId="2142533194"/>
            <ac:spMk id="3" creationId="{06BF6069-CAF1-726F-6D16-AAE4E278E828}"/>
          </ac:spMkLst>
        </pc:spChg>
        <pc:spChg chg="mod">
          <ac:chgData name="Melaerts Frédéric" userId="e63e2408-a9ae-43c8-8f5f-37811e9e956a" providerId="ADAL" clId="{7B18185B-35CE-44C0-911D-6C70AFCC39ED}" dt="2024-07-08T20:06:35.485" v="1382" actId="2711"/>
          <ac:spMkLst>
            <pc:docMk/>
            <pc:sldMk cId="3718310612" sldId="2142533194"/>
            <ac:spMk id="4" creationId="{2DD3284A-55E7-57BB-BC4C-08D40D10FE0B}"/>
          </ac:spMkLst>
        </pc:spChg>
        <pc:spChg chg="mod">
          <ac:chgData name="Melaerts Frédéric" userId="e63e2408-a9ae-43c8-8f5f-37811e9e956a" providerId="ADAL" clId="{7B18185B-35CE-44C0-911D-6C70AFCC39ED}" dt="2024-07-08T20:06:35.485" v="1382" actId="2711"/>
          <ac:spMkLst>
            <pc:docMk/>
            <pc:sldMk cId="3718310612" sldId="2142533194"/>
            <ac:spMk id="5" creationId="{D9C12FAE-2E02-F265-74F7-71E3B7237DA3}"/>
          </ac:spMkLst>
        </pc:spChg>
        <pc:spChg chg="mod">
          <ac:chgData name="Melaerts Frédéric" userId="e63e2408-a9ae-43c8-8f5f-37811e9e956a" providerId="ADAL" clId="{7B18185B-35CE-44C0-911D-6C70AFCC39ED}" dt="2024-07-08T20:06:35.485" v="1382" actId="2711"/>
          <ac:spMkLst>
            <pc:docMk/>
            <pc:sldMk cId="3718310612" sldId="2142533194"/>
            <ac:spMk id="6" creationId="{E4CC9926-78FE-8799-5257-BCAFBC256BC4}"/>
          </ac:spMkLst>
        </pc:spChg>
        <pc:spChg chg="add del mod">
          <ac:chgData name="Melaerts Frédéric" userId="e63e2408-a9ae-43c8-8f5f-37811e9e956a" providerId="ADAL" clId="{7B18185B-35CE-44C0-911D-6C70AFCC39ED}" dt="2024-07-08T09:57:42.696" v="17" actId="478"/>
          <ac:spMkLst>
            <pc:docMk/>
            <pc:sldMk cId="3718310612" sldId="2142533194"/>
            <ac:spMk id="11" creationId="{45094B37-13D7-C01E-C143-B9D8ADF58109}"/>
          </ac:spMkLst>
        </pc:spChg>
        <pc:spChg chg="add mod">
          <ac:chgData name="Melaerts Frédéric" userId="e63e2408-a9ae-43c8-8f5f-37811e9e956a" providerId="ADAL" clId="{7B18185B-35CE-44C0-911D-6C70AFCC39ED}" dt="2024-07-08T16:34:30.729" v="601" actId="164"/>
          <ac:spMkLst>
            <pc:docMk/>
            <pc:sldMk cId="3718310612" sldId="2142533194"/>
            <ac:spMk id="12" creationId="{2E2D3479-B0DC-3C4F-290D-10FDD8BBB441}"/>
          </ac:spMkLst>
        </pc:spChg>
        <pc:spChg chg="add del mod ord">
          <ac:chgData name="Melaerts Frédéric" userId="e63e2408-a9ae-43c8-8f5f-37811e9e956a" providerId="ADAL" clId="{7B18185B-35CE-44C0-911D-6C70AFCC39ED}" dt="2024-07-08T16:29:26.778" v="452" actId="478"/>
          <ac:spMkLst>
            <pc:docMk/>
            <pc:sldMk cId="3718310612" sldId="2142533194"/>
            <ac:spMk id="13" creationId="{8BE4E63E-0D85-1F4A-B905-F55383675552}"/>
          </ac:spMkLst>
        </pc:spChg>
        <pc:spChg chg="mod">
          <ac:chgData name="Melaerts Frédéric" userId="e63e2408-a9ae-43c8-8f5f-37811e9e956a" providerId="ADAL" clId="{7B18185B-35CE-44C0-911D-6C70AFCC39ED}" dt="2024-07-08T20:06:35.485" v="1382" actId="2711"/>
          <ac:spMkLst>
            <pc:docMk/>
            <pc:sldMk cId="3718310612" sldId="2142533194"/>
            <ac:spMk id="14" creationId="{175D128F-BE93-451C-3625-7AE47C8F79DD}"/>
          </ac:spMkLst>
        </pc:spChg>
        <pc:spChg chg="del mod">
          <ac:chgData name="Melaerts Frédéric" userId="e63e2408-a9ae-43c8-8f5f-37811e9e956a" providerId="ADAL" clId="{7B18185B-35CE-44C0-911D-6C70AFCC39ED}" dt="2024-07-08T16:29:35.528" v="454" actId="478"/>
          <ac:spMkLst>
            <pc:docMk/>
            <pc:sldMk cId="3718310612" sldId="2142533194"/>
            <ac:spMk id="16" creationId="{652EACFA-390F-F083-D7C8-AA84AB338888}"/>
          </ac:spMkLst>
        </pc:spChg>
        <pc:spChg chg="del mod topLvl">
          <ac:chgData name="Melaerts Frédéric" userId="e63e2408-a9ae-43c8-8f5f-37811e9e956a" providerId="ADAL" clId="{7B18185B-35CE-44C0-911D-6C70AFCC39ED}" dt="2024-07-08T16:31:05.446" v="539" actId="478"/>
          <ac:spMkLst>
            <pc:docMk/>
            <pc:sldMk cId="3718310612" sldId="2142533194"/>
            <ac:spMk id="17" creationId="{AFA2519B-D753-6779-907E-5854E8A7978C}"/>
          </ac:spMkLst>
        </pc:spChg>
        <pc:spChg chg="mod">
          <ac:chgData name="Melaerts Frédéric" userId="e63e2408-a9ae-43c8-8f5f-37811e9e956a" providerId="ADAL" clId="{7B18185B-35CE-44C0-911D-6C70AFCC39ED}" dt="2024-07-08T20:06:35.485" v="1382" actId="2711"/>
          <ac:spMkLst>
            <pc:docMk/>
            <pc:sldMk cId="3718310612" sldId="2142533194"/>
            <ac:spMk id="18" creationId="{6802A270-E53D-3E53-5E2A-EE26B8022373}"/>
          </ac:spMkLst>
        </pc:spChg>
        <pc:spChg chg="mod">
          <ac:chgData name="Melaerts Frédéric" userId="e63e2408-a9ae-43c8-8f5f-37811e9e956a" providerId="ADAL" clId="{7B18185B-35CE-44C0-911D-6C70AFCC39ED}" dt="2024-07-08T20:06:35.485" v="1382" actId="2711"/>
          <ac:spMkLst>
            <pc:docMk/>
            <pc:sldMk cId="3718310612" sldId="2142533194"/>
            <ac:spMk id="19" creationId="{5DB1F33F-25BD-675A-271D-CB95AA355AB9}"/>
          </ac:spMkLst>
        </pc:spChg>
        <pc:spChg chg="mod">
          <ac:chgData name="Melaerts Frédéric" userId="e63e2408-a9ae-43c8-8f5f-37811e9e956a" providerId="ADAL" clId="{7B18185B-35CE-44C0-911D-6C70AFCC39ED}" dt="2024-07-08T16:29:45.412" v="457"/>
          <ac:spMkLst>
            <pc:docMk/>
            <pc:sldMk cId="3718310612" sldId="2142533194"/>
            <ac:spMk id="22" creationId="{24C029F5-D0A2-B362-A97A-094B3AE83EB6}"/>
          </ac:spMkLst>
        </pc:spChg>
        <pc:spChg chg="mod">
          <ac:chgData name="Melaerts Frédéric" userId="e63e2408-a9ae-43c8-8f5f-37811e9e956a" providerId="ADAL" clId="{7B18185B-35CE-44C0-911D-6C70AFCC39ED}" dt="2024-07-08T16:29:45.412" v="457"/>
          <ac:spMkLst>
            <pc:docMk/>
            <pc:sldMk cId="3718310612" sldId="2142533194"/>
            <ac:spMk id="23" creationId="{0860DC3F-58A4-88FC-73B6-52287EDB3B6C}"/>
          </ac:spMkLst>
        </pc:spChg>
        <pc:spChg chg="mod">
          <ac:chgData name="Melaerts Frédéric" userId="e63e2408-a9ae-43c8-8f5f-37811e9e956a" providerId="ADAL" clId="{7B18185B-35CE-44C0-911D-6C70AFCC39ED}" dt="2024-07-08T16:29:47.424" v="458"/>
          <ac:spMkLst>
            <pc:docMk/>
            <pc:sldMk cId="3718310612" sldId="2142533194"/>
            <ac:spMk id="26" creationId="{F709D68D-CE81-1C24-99EE-D04374FF1572}"/>
          </ac:spMkLst>
        </pc:spChg>
        <pc:spChg chg="del mod">
          <ac:chgData name="Melaerts Frédéric" userId="e63e2408-a9ae-43c8-8f5f-37811e9e956a" providerId="ADAL" clId="{7B18185B-35CE-44C0-911D-6C70AFCC39ED}" dt="2024-07-08T16:29:49.569" v="459" actId="478"/>
          <ac:spMkLst>
            <pc:docMk/>
            <pc:sldMk cId="3718310612" sldId="2142533194"/>
            <ac:spMk id="27" creationId="{CB79A07E-D403-3449-7C0C-A5B09BFE26C9}"/>
          </ac:spMkLst>
        </pc:spChg>
        <pc:spChg chg="add mod">
          <ac:chgData name="Melaerts Frédéric" userId="e63e2408-a9ae-43c8-8f5f-37811e9e956a" providerId="ADAL" clId="{7B18185B-35CE-44C0-911D-6C70AFCC39ED}" dt="2024-07-08T20:06:35.485" v="1382" actId="2711"/>
          <ac:spMkLst>
            <pc:docMk/>
            <pc:sldMk cId="3718310612" sldId="2142533194"/>
            <ac:spMk id="29" creationId="{FCC126E9-1BA2-8BB9-8CD3-1396C20C9B16}"/>
          </ac:spMkLst>
        </pc:spChg>
        <pc:spChg chg="add del mod">
          <ac:chgData name="Melaerts Frédéric" userId="e63e2408-a9ae-43c8-8f5f-37811e9e956a" providerId="ADAL" clId="{7B18185B-35CE-44C0-911D-6C70AFCC39ED}" dt="2024-07-08T16:33:05.773" v="581" actId="1076"/>
          <ac:spMkLst>
            <pc:docMk/>
            <pc:sldMk cId="3718310612" sldId="2142533194"/>
            <ac:spMk id="31" creationId="{1D9D726E-69F2-5A61-1021-509963C13966}"/>
          </ac:spMkLst>
        </pc:spChg>
        <pc:grpChg chg="add del mod">
          <ac:chgData name="Melaerts Frédéric" userId="e63e2408-a9ae-43c8-8f5f-37811e9e956a" providerId="ADAL" clId="{7B18185B-35CE-44C0-911D-6C70AFCC39ED}" dt="2024-07-08T16:31:05.446" v="539" actId="478"/>
          <ac:grpSpMkLst>
            <pc:docMk/>
            <pc:sldMk cId="3718310612" sldId="2142533194"/>
            <ac:grpSpMk id="15" creationId="{A6FB42EF-329E-0E60-FC79-F0D8746D23F1}"/>
          </ac:grpSpMkLst>
        </pc:grpChg>
        <pc:grpChg chg="add mod">
          <ac:chgData name="Melaerts Frédéric" userId="e63e2408-a9ae-43c8-8f5f-37811e9e956a" providerId="ADAL" clId="{7B18185B-35CE-44C0-911D-6C70AFCC39ED}" dt="2024-07-08T16:29:45.412" v="457"/>
          <ac:grpSpMkLst>
            <pc:docMk/>
            <pc:sldMk cId="3718310612" sldId="2142533194"/>
            <ac:grpSpMk id="21" creationId="{22D691FA-A1E7-67BA-4827-06888F73EC45}"/>
          </ac:grpSpMkLst>
        </pc:grpChg>
        <pc:grpChg chg="add del mod">
          <ac:chgData name="Melaerts Frédéric" userId="e63e2408-a9ae-43c8-8f5f-37811e9e956a" providerId="ADAL" clId="{7B18185B-35CE-44C0-911D-6C70AFCC39ED}" dt="2024-07-08T16:29:51.241" v="460" actId="478"/>
          <ac:grpSpMkLst>
            <pc:docMk/>
            <pc:sldMk cId="3718310612" sldId="2142533194"/>
            <ac:grpSpMk id="25" creationId="{1F5685D8-95CA-B2E5-1481-F7C4B820D439}"/>
          </ac:grpSpMkLst>
        </pc:grpChg>
        <pc:grpChg chg="add mod">
          <ac:chgData name="Melaerts Frédéric" userId="e63e2408-a9ae-43c8-8f5f-37811e9e956a" providerId="ADAL" clId="{7B18185B-35CE-44C0-911D-6C70AFCC39ED}" dt="2024-07-08T16:32:11.631" v="554" actId="164"/>
          <ac:grpSpMkLst>
            <pc:docMk/>
            <pc:sldMk cId="3718310612" sldId="2142533194"/>
            <ac:grpSpMk id="30" creationId="{9E2B9121-AAFE-213B-9EE5-94073DA1D10E}"/>
          </ac:grpSpMkLst>
        </pc:grpChg>
        <pc:grpChg chg="add mod">
          <ac:chgData name="Melaerts Frédéric" userId="e63e2408-a9ae-43c8-8f5f-37811e9e956a" providerId="ADAL" clId="{7B18185B-35CE-44C0-911D-6C70AFCC39ED}" dt="2024-07-08T20:06:35.485" v="1382" actId="2711"/>
          <ac:grpSpMkLst>
            <pc:docMk/>
            <pc:sldMk cId="3718310612" sldId="2142533194"/>
            <ac:grpSpMk id="32" creationId="{C588ACB9-A4E1-CBA1-6109-9C77F52571BD}"/>
          </ac:grpSpMkLst>
        </pc:grpChg>
        <pc:picChg chg="mod">
          <ac:chgData name="Melaerts Frédéric" userId="e63e2408-a9ae-43c8-8f5f-37811e9e956a" providerId="ADAL" clId="{7B18185B-35CE-44C0-911D-6C70AFCC39ED}" dt="2024-07-08T20:06:35.485" v="1382" actId="2711"/>
          <ac:picMkLst>
            <pc:docMk/>
            <pc:sldMk cId="3718310612" sldId="2142533194"/>
            <ac:picMk id="2" creationId="{98D4529E-5577-2CBE-2430-40887258FC6F}"/>
          </ac:picMkLst>
        </pc:picChg>
        <pc:picChg chg="add del mod">
          <ac:chgData name="Melaerts Frédéric" userId="e63e2408-a9ae-43c8-8f5f-37811e9e956a" providerId="ADAL" clId="{7B18185B-35CE-44C0-911D-6C70AFCC39ED}" dt="2024-07-08T16:34:20.467" v="599" actId="478"/>
          <ac:picMkLst>
            <pc:docMk/>
            <pc:sldMk cId="3718310612" sldId="2142533194"/>
            <ac:picMk id="8" creationId="{3495814D-6F93-8A04-2947-160D3278D60A}"/>
          </ac:picMkLst>
        </pc:picChg>
        <pc:picChg chg="add del mod">
          <ac:chgData name="Melaerts Frédéric" userId="e63e2408-a9ae-43c8-8f5f-37811e9e956a" providerId="ADAL" clId="{7B18185B-35CE-44C0-911D-6C70AFCC39ED}" dt="2024-07-08T16:34:19.762" v="598" actId="478"/>
          <ac:picMkLst>
            <pc:docMk/>
            <pc:sldMk cId="3718310612" sldId="2142533194"/>
            <ac:picMk id="10" creationId="{D4EA4201-0363-9AB7-1D15-E7895ABE9A0F}"/>
          </ac:picMkLst>
        </pc:picChg>
        <pc:picChg chg="add del mod topLvl">
          <ac:chgData name="Melaerts Frédéric" userId="e63e2408-a9ae-43c8-8f5f-37811e9e956a" providerId="ADAL" clId="{7B18185B-35CE-44C0-911D-6C70AFCC39ED}" dt="2024-07-08T20:06:35.485" v="1382" actId="2711"/>
          <ac:picMkLst>
            <pc:docMk/>
            <pc:sldMk cId="3718310612" sldId="2142533194"/>
            <ac:picMk id="20" creationId="{8CCF7846-39DE-EDF9-B31F-CE8C42E85602}"/>
          </ac:picMkLst>
        </pc:picChg>
        <pc:picChg chg="mod">
          <ac:chgData name="Melaerts Frédéric" userId="e63e2408-a9ae-43c8-8f5f-37811e9e956a" providerId="ADAL" clId="{7B18185B-35CE-44C0-911D-6C70AFCC39ED}" dt="2024-07-08T16:29:45.412" v="457"/>
          <ac:picMkLst>
            <pc:docMk/>
            <pc:sldMk cId="3718310612" sldId="2142533194"/>
            <ac:picMk id="24" creationId="{77096BB0-BF41-5921-5ED8-C2F66D0303A1}"/>
          </ac:picMkLst>
        </pc:picChg>
        <pc:picChg chg="mod">
          <ac:chgData name="Melaerts Frédéric" userId="e63e2408-a9ae-43c8-8f5f-37811e9e956a" providerId="ADAL" clId="{7B18185B-35CE-44C0-911D-6C70AFCC39ED}" dt="2024-07-08T16:29:47.424" v="458"/>
          <ac:picMkLst>
            <pc:docMk/>
            <pc:sldMk cId="3718310612" sldId="2142533194"/>
            <ac:picMk id="28" creationId="{867F9DDC-29A2-2CF8-5E01-02605C22DBD6}"/>
          </ac:picMkLst>
        </pc:picChg>
      </pc:sldChg>
      <pc:sldChg chg="del">
        <pc:chgData name="Melaerts Frédéric" userId="e63e2408-a9ae-43c8-8f5f-37811e9e956a" providerId="ADAL" clId="{7B18185B-35CE-44C0-911D-6C70AFCC39ED}" dt="2024-07-08T10:03:11.642" v="56" actId="47"/>
        <pc:sldMkLst>
          <pc:docMk/>
          <pc:sldMk cId="1892633397" sldId="2142533195"/>
        </pc:sldMkLst>
      </pc:sldChg>
      <pc:sldChg chg="delSp modSp mod">
        <pc:chgData name="Melaerts Frédéric" userId="e63e2408-a9ae-43c8-8f5f-37811e9e956a" providerId="ADAL" clId="{7B18185B-35CE-44C0-911D-6C70AFCC39ED}" dt="2024-07-08T10:03:48.221" v="61" actId="2711"/>
        <pc:sldMkLst>
          <pc:docMk/>
          <pc:sldMk cId="1732030646" sldId="2142533196"/>
        </pc:sldMkLst>
        <pc:spChg chg="mod">
          <ac:chgData name="Melaerts Frédéric" userId="e63e2408-a9ae-43c8-8f5f-37811e9e956a" providerId="ADAL" clId="{7B18185B-35CE-44C0-911D-6C70AFCC39ED}" dt="2024-07-08T10:03:48.221" v="61" actId="2711"/>
          <ac:spMkLst>
            <pc:docMk/>
            <pc:sldMk cId="1732030646" sldId="2142533196"/>
            <ac:spMk id="2" creationId="{7C811E99-F9F0-4692-BCDE-C6E08B217F96}"/>
          </ac:spMkLst>
        </pc:spChg>
        <pc:spChg chg="mod">
          <ac:chgData name="Melaerts Frédéric" userId="e63e2408-a9ae-43c8-8f5f-37811e9e956a" providerId="ADAL" clId="{7B18185B-35CE-44C0-911D-6C70AFCC39ED}" dt="2024-07-08T10:03:48.221" v="61" actId="2711"/>
          <ac:spMkLst>
            <pc:docMk/>
            <pc:sldMk cId="1732030646" sldId="2142533196"/>
            <ac:spMk id="8" creationId="{2C267321-14F9-A7FE-5B5E-71A52B1F0068}"/>
          </ac:spMkLst>
        </pc:spChg>
        <pc:spChg chg="mod">
          <ac:chgData name="Melaerts Frédéric" userId="e63e2408-a9ae-43c8-8f5f-37811e9e956a" providerId="ADAL" clId="{7B18185B-35CE-44C0-911D-6C70AFCC39ED}" dt="2024-07-08T10:03:48.221" v="61" actId="2711"/>
          <ac:spMkLst>
            <pc:docMk/>
            <pc:sldMk cId="1732030646" sldId="2142533196"/>
            <ac:spMk id="9" creationId="{420C4F04-6272-B1AB-4FFC-6AA6B9B29806}"/>
          </ac:spMkLst>
        </pc:spChg>
        <pc:spChg chg="del">
          <ac:chgData name="Melaerts Frédéric" userId="e63e2408-a9ae-43c8-8f5f-37811e9e956a" providerId="ADAL" clId="{7B18185B-35CE-44C0-911D-6C70AFCC39ED}" dt="2024-07-08T10:03:17" v="57" actId="478"/>
          <ac:spMkLst>
            <pc:docMk/>
            <pc:sldMk cId="1732030646" sldId="2142533196"/>
            <ac:spMk id="15" creationId="{8C960CA6-8AD5-C942-CF33-902D244C8582}"/>
          </ac:spMkLst>
        </pc:spChg>
        <pc:spChg chg="del">
          <ac:chgData name="Melaerts Frédéric" userId="e63e2408-a9ae-43c8-8f5f-37811e9e956a" providerId="ADAL" clId="{7B18185B-35CE-44C0-911D-6C70AFCC39ED}" dt="2024-07-08T10:03:17" v="57" actId="478"/>
          <ac:spMkLst>
            <pc:docMk/>
            <pc:sldMk cId="1732030646" sldId="2142533196"/>
            <ac:spMk id="16" creationId="{EA712625-E8C5-AEF6-1D7A-0D96A4748BF4}"/>
          </ac:spMkLst>
        </pc:spChg>
        <pc:spChg chg="del">
          <ac:chgData name="Melaerts Frédéric" userId="e63e2408-a9ae-43c8-8f5f-37811e9e956a" providerId="ADAL" clId="{7B18185B-35CE-44C0-911D-6C70AFCC39ED}" dt="2024-07-08T10:03:17" v="57" actId="478"/>
          <ac:spMkLst>
            <pc:docMk/>
            <pc:sldMk cId="1732030646" sldId="2142533196"/>
            <ac:spMk id="17" creationId="{A8452B2B-2870-8FDA-A34C-4ADAD25D75F6}"/>
          </ac:spMkLst>
        </pc:spChg>
        <pc:spChg chg="mod">
          <ac:chgData name="Melaerts Frédéric" userId="e63e2408-a9ae-43c8-8f5f-37811e9e956a" providerId="ADAL" clId="{7B18185B-35CE-44C0-911D-6C70AFCC39ED}" dt="2024-07-08T10:03:48.221" v="61" actId="2711"/>
          <ac:spMkLst>
            <pc:docMk/>
            <pc:sldMk cId="1732030646" sldId="2142533196"/>
            <ac:spMk id="18" creationId="{9CC76AF9-B319-01C2-CE90-94D4C2D57382}"/>
          </ac:spMkLst>
        </pc:spChg>
        <pc:spChg chg="del">
          <ac:chgData name="Melaerts Frédéric" userId="e63e2408-a9ae-43c8-8f5f-37811e9e956a" providerId="ADAL" clId="{7B18185B-35CE-44C0-911D-6C70AFCC39ED}" dt="2024-07-08T10:03:17" v="57" actId="478"/>
          <ac:spMkLst>
            <pc:docMk/>
            <pc:sldMk cId="1732030646" sldId="2142533196"/>
            <ac:spMk id="19" creationId="{BC241173-4713-4ACF-099F-662D779A7F11}"/>
          </ac:spMkLst>
        </pc:spChg>
        <pc:spChg chg="mod">
          <ac:chgData name="Melaerts Frédéric" userId="e63e2408-a9ae-43c8-8f5f-37811e9e956a" providerId="ADAL" clId="{7B18185B-35CE-44C0-911D-6C70AFCC39ED}" dt="2024-07-08T10:03:48.221" v="61" actId="2711"/>
          <ac:spMkLst>
            <pc:docMk/>
            <pc:sldMk cId="1732030646" sldId="2142533196"/>
            <ac:spMk id="20" creationId="{4FAF88D9-2D67-E18D-90C7-973712AA3576}"/>
          </ac:spMkLst>
        </pc:spChg>
        <pc:spChg chg="del">
          <ac:chgData name="Melaerts Frédéric" userId="e63e2408-a9ae-43c8-8f5f-37811e9e956a" providerId="ADAL" clId="{7B18185B-35CE-44C0-911D-6C70AFCC39ED}" dt="2024-07-08T10:03:17" v="57" actId="478"/>
          <ac:spMkLst>
            <pc:docMk/>
            <pc:sldMk cId="1732030646" sldId="2142533196"/>
            <ac:spMk id="21" creationId="{980F38C0-4452-7EEB-04E7-18A53FD6F9D4}"/>
          </ac:spMkLst>
        </pc:spChg>
        <pc:spChg chg="del">
          <ac:chgData name="Melaerts Frédéric" userId="e63e2408-a9ae-43c8-8f5f-37811e9e956a" providerId="ADAL" clId="{7B18185B-35CE-44C0-911D-6C70AFCC39ED}" dt="2024-07-08T10:03:17" v="57" actId="478"/>
          <ac:spMkLst>
            <pc:docMk/>
            <pc:sldMk cId="1732030646" sldId="2142533196"/>
            <ac:spMk id="22" creationId="{3D3D56EC-F519-41F3-0C9E-6433E970BECF}"/>
          </ac:spMkLst>
        </pc:spChg>
        <pc:spChg chg="mod">
          <ac:chgData name="Melaerts Frédéric" userId="e63e2408-a9ae-43c8-8f5f-37811e9e956a" providerId="ADAL" clId="{7B18185B-35CE-44C0-911D-6C70AFCC39ED}" dt="2024-07-08T10:03:48.221" v="61" actId="2711"/>
          <ac:spMkLst>
            <pc:docMk/>
            <pc:sldMk cId="1732030646" sldId="2142533196"/>
            <ac:spMk id="23" creationId="{2B8F2DF7-DF62-9037-9B4C-85128E799C4F}"/>
          </ac:spMkLst>
        </pc:spChg>
        <pc:spChg chg="mod">
          <ac:chgData name="Melaerts Frédéric" userId="e63e2408-a9ae-43c8-8f5f-37811e9e956a" providerId="ADAL" clId="{7B18185B-35CE-44C0-911D-6C70AFCC39ED}" dt="2024-07-08T10:03:48.221" v="61" actId="2711"/>
          <ac:spMkLst>
            <pc:docMk/>
            <pc:sldMk cId="1732030646" sldId="2142533196"/>
            <ac:spMk id="25" creationId="{20B88E45-6CF5-5922-59C5-9B9F5B67BC00}"/>
          </ac:spMkLst>
        </pc:spChg>
        <pc:spChg chg="mod">
          <ac:chgData name="Melaerts Frédéric" userId="e63e2408-a9ae-43c8-8f5f-37811e9e956a" providerId="ADAL" clId="{7B18185B-35CE-44C0-911D-6C70AFCC39ED}" dt="2024-07-08T10:03:48.221" v="61" actId="2711"/>
          <ac:spMkLst>
            <pc:docMk/>
            <pc:sldMk cId="1732030646" sldId="2142533196"/>
            <ac:spMk id="26" creationId="{7824C48B-78A4-DDE3-9FC5-E264BAE08940}"/>
          </ac:spMkLst>
        </pc:spChg>
        <pc:spChg chg="mod">
          <ac:chgData name="Melaerts Frédéric" userId="e63e2408-a9ae-43c8-8f5f-37811e9e956a" providerId="ADAL" clId="{7B18185B-35CE-44C0-911D-6C70AFCC39ED}" dt="2024-07-08T10:03:42.316" v="60" actId="207"/>
          <ac:spMkLst>
            <pc:docMk/>
            <pc:sldMk cId="1732030646" sldId="2142533196"/>
            <ac:spMk id="27" creationId="{5421B53B-3B69-849C-27F0-9BEA2CD21CE8}"/>
          </ac:spMkLst>
        </pc:spChg>
        <pc:spChg chg="mod">
          <ac:chgData name="Melaerts Frédéric" userId="e63e2408-a9ae-43c8-8f5f-37811e9e956a" providerId="ADAL" clId="{7B18185B-35CE-44C0-911D-6C70AFCC39ED}" dt="2024-07-08T10:03:48.221" v="61" actId="2711"/>
          <ac:spMkLst>
            <pc:docMk/>
            <pc:sldMk cId="1732030646" sldId="2142533196"/>
            <ac:spMk id="1024" creationId="{E51659F8-1FB8-DB52-2824-51D1E1C1D362}"/>
          </ac:spMkLst>
        </pc:spChg>
        <pc:spChg chg="mod">
          <ac:chgData name="Melaerts Frédéric" userId="e63e2408-a9ae-43c8-8f5f-37811e9e956a" providerId="ADAL" clId="{7B18185B-35CE-44C0-911D-6C70AFCC39ED}" dt="2024-07-08T10:03:48.221" v="61" actId="2711"/>
          <ac:spMkLst>
            <pc:docMk/>
            <pc:sldMk cId="1732030646" sldId="2142533196"/>
            <ac:spMk id="1025" creationId="{64D11885-4ECD-28FE-D708-A1069CCD01DD}"/>
          </ac:spMkLst>
        </pc:spChg>
        <pc:spChg chg="mod">
          <ac:chgData name="Melaerts Frédéric" userId="e63e2408-a9ae-43c8-8f5f-37811e9e956a" providerId="ADAL" clId="{7B18185B-35CE-44C0-911D-6C70AFCC39ED}" dt="2024-07-08T10:03:48.221" v="61" actId="2711"/>
          <ac:spMkLst>
            <pc:docMk/>
            <pc:sldMk cId="1732030646" sldId="2142533196"/>
            <ac:spMk id="1053" creationId="{0749ECB1-F585-1D78-5241-2F185C5BD66F}"/>
          </ac:spMkLst>
        </pc:spChg>
        <pc:spChg chg="mod">
          <ac:chgData name="Melaerts Frédéric" userId="e63e2408-a9ae-43c8-8f5f-37811e9e956a" providerId="ADAL" clId="{7B18185B-35CE-44C0-911D-6C70AFCC39ED}" dt="2024-07-08T10:03:48.221" v="61" actId="2711"/>
          <ac:spMkLst>
            <pc:docMk/>
            <pc:sldMk cId="1732030646" sldId="2142533196"/>
            <ac:spMk id="1073" creationId="{B6D3CA99-231D-F0EC-5EA9-874F8310A8B8}"/>
          </ac:spMkLst>
        </pc:spChg>
        <pc:spChg chg="mod">
          <ac:chgData name="Melaerts Frédéric" userId="e63e2408-a9ae-43c8-8f5f-37811e9e956a" providerId="ADAL" clId="{7B18185B-35CE-44C0-911D-6C70AFCC39ED}" dt="2024-07-08T10:03:48.221" v="61" actId="2711"/>
          <ac:spMkLst>
            <pc:docMk/>
            <pc:sldMk cId="1732030646" sldId="2142533196"/>
            <ac:spMk id="1084" creationId="{096CB886-AED3-3C68-CC42-93AD37C9C21F}"/>
          </ac:spMkLst>
        </pc:spChg>
        <pc:spChg chg="mod">
          <ac:chgData name="Melaerts Frédéric" userId="e63e2408-a9ae-43c8-8f5f-37811e9e956a" providerId="ADAL" clId="{7B18185B-35CE-44C0-911D-6C70AFCC39ED}" dt="2024-07-08T10:03:48.221" v="61" actId="2711"/>
          <ac:spMkLst>
            <pc:docMk/>
            <pc:sldMk cId="1732030646" sldId="2142533196"/>
            <ac:spMk id="1087" creationId="{44464D86-28E2-C6D2-6CDD-F628CA174CD8}"/>
          </ac:spMkLst>
        </pc:spChg>
        <pc:spChg chg="mod">
          <ac:chgData name="Melaerts Frédéric" userId="e63e2408-a9ae-43c8-8f5f-37811e9e956a" providerId="ADAL" clId="{7B18185B-35CE-44C0-911D-6C70AFCC39ED}" dt="2024-07-08T10:03:48.221" v="61" actId="2711"/>
          <ac:spMkLst>
            <pc:docMk/>
            <pc:sldMk cId="1732030646" sldId="2142533196"/>
            <ac:spMk id="1090" creationId="{92DA5A74-E7CD-B72F-A344-01E81F9389B7}"/>
          </ac:spMkLst>
        </pc:spChg>
        <pc:spChg chg="mod">
          <ac:chgData name="Melaerts Frédéric" userId="e63e2408-a9ae-43c8-8f5f-37811e9e956a" providerId="ADAL" clId="{7B18185B-35CE-44C0-911D-6C70AFCC39ED}" dt="2024-07-08T10:03:48.221" v="61" actId="2711"/>
          <ac:spMkLst>
            <pc:docMk/>
            <pc:sldMk cId="1732030646" sldId="2142533196"/>
            <ac:spMk id="1161" creationId="{70102454-3512-E054-7A29-77DC67644845}"/>
          </ac:spMkLst>
        </pc:spChg>
        <pc:grpChg chg="del">
          <ac:chgData name="Melaerts Frédéric" userId="e63e2408-a9ae-43c8-8f5f-37811e9e956a" providerId="ADAL" clId="{7B18185B-35CE-44C0-911D-6C70AFCC39ED}" dt="2024-07-08T10:03:17" v="57" actId="478"/>
          <ac:grpSpMkLst>
            <pc:docMk/>
            <pc:sldMk cId="1732030646" sldId="2142533196"/>
            <ac:grpSpMk id="3" creationId="{D87B5A9E-C35F-915B-DA97-18E2A7AFF4B8}"/>
          </ac:grpSpMkLst>
        </pc:grpChg>
        <pc:grpChg chg="del">
          <ac:chgData name="Melaerts Frédéric" userId="e63e2408-a9ae-43c8-8f5f-37811e9e956a" providerId="ADAL" clId="{7B18185B-35CE-44C0-911D-6C70AFCC39ED}" dt="2024-07-08T10:03:17" v="57" actId="478"/>
          <ac:grpSpMkLst>
            <pc:docMk/>
            <pc:sldMk cId="1732030646" sldId="2142533196"/>
            <ac:grpSpMk id="7" creationId="{04536740-9708-3D40-93E6-4FA8B6DD30D8}"/>
          </ac:grpSpMkLst>
        </pc:grpChg>
        <pc:grpChg chg="del">
          <ac:chgData name="Melaerts Frédéric" userId="e63e2408-a9ae-43c8-8f5f-37811e9e956a" providerId="ADAL" clId="{7B18185B-35CE-44C0-911D-6C70AFCC39ED}" dt="2024-07-08T10:03:17" v="57" actId="478"/>
          <ac:grpSpMkLst>
            <pc:docMk/>
            <pc:sldMk cId="1732030646" sldId="2142533196"/>
            <ac:grpSpMk id="12" creationId="{1C923BE3-42AB-B04A-041D-70CB37B45877}"/>
          </ac:grpSpMkLst>
        </pc:grpChg>
        <pc:grpChg chg="mod">
          <ac:chgData name="Melaerts Frédéric" userId="e63e2408-a9ae-43c8-8f5f-37811e9e956a" providerId="ADAL" clId="{7B18185B-35CE-44C0-911D-6C70AFCC39ED}" dt="2024-07-08T10:03:48.221" v="61" actId="2711"/>
          <ac:grpSpMkLst>
            <pc:docMk/>
            <pc:sldMk cId="1732030646" sldId="2142533196"/>
            <ac:grpSpMk id="31" creationId="{145648AA-6103-F281-FE5E-79F5EA9CF238}"/>
          </ac:grpSpMkLst>
        </pc:grpChg>
        <pc:grpChg chg="mod">
          <ac:chgData name="Melaerts Frédéric" userId="e63e2408-a9ae-43c8-8f5f-37811e9e956a" providerId="ADAL" clId="{7B18185B-35CE-44C0-911D-6C70AFCC39ED}" dt="2024-07-08T10:03:48.221" v="61" actId="2711"/>
          <ac:grpSpMkLst>
            <pc:docMk/>
            <pc:sldMk cId="1732030646" sldId="2142533196"/>
            <ac:grpSpMk id="1125" creationId="{33C99C5A-4B0F-6D39-BF8A-DF13D53E7F91}"/>
          </ac:grpSpMkLst>
        </pc:grpChg>
        <pc:grpChg chg="mod">
          <ac:chgData name="Melaerts Frédéric" userId="e63e2408-a9ae-43c8-8f5f-37811e9e956a" providerId="ADAL" clId="{7B18185B-35CE-44C0-911D-6C70AFCC39ED}" dt="2024-07-08T10:03:48.221" v="61" actId="2711"/>
          <ac:grpSpMkLst>
            <pc:docMk/>
            <pc:sldMk cId="1732030646" sldId="2142533196"/>
            <ac:grpSpMk id="1154" creationId="{F08F6F77-2B9C-C648-55C5-95168BA2985A}"/>
          </ac:grpSpMkLst>
        </pc:grpChg>
        <pc:graphicFrameChg chg="mod">
          <ac:chgData name="Melaerts Frédéric" userId="e63e2408-a9ae-43c8-8f5f-37811e9e956a" providerId="ADAL" clId="{7B18185B-35CE-44C0-911D-6C70AFCC39ED}" dt="2024-07-08T10:03:48.221" v="61" actId="2711"/>
          <ac:graphicFrameMkLst>
            <pc:docMk/>
            <pc:sldMk cId="1732030646" sldId="2142533196"/>
            <ac:graphicFrameMk id="6" creationId="{1A98B3EF-D9DF-4D4B-A1F2-A4547A64D87E}"/>
          </ac:graphicFrameMkLst>
        </pc:graphicFrameChg>
        <pc:picChg chg="mod">
          <ac:chgData name="Melaerts Frédéric" userId="e63e2408-a9ae-43c8-8f5f-37811e9e956a" providerId="ADAL" clId="{7B18185B-35CE-44C0-911D-6C70AFCC39ED}" dt="2024-07-08T10:03:48.221" v="61" actId="2711"/>
          <ac:picMkLst>
            <pc:docMk/>
            <pc:sldMk cId="1732030646" sldId="2142533196"/>
            <ac:picMk id="1026" creationId="{CF5229E2-FCFD-9D71-EB69-83E3B87722A9}"/>
          </ac:picMkLst>
        </pc:picChg>
        <pc:picChg chg="mod">
          <ac:chgData name="Melaerts Frédéric" userId="e63e2408-a9ae-43c8-8f5f-37811e9e956a" providerId="ADAL" clId="{7B18185B-35CE-44C0-911D-6C70AFCC39ED}" dt="2024-07-08T10:03:48.221" v="61" actId="2711"/>
          <ac:picMkLst>
            <pc:docMk/>
            <pc:sldMk cId="1732030646" sldId="2142533196"/>
            <ac:picMk id="1027" creationId="{AC8E27D7-9B7E-0C04-516A-E227C7821BE6}"/>
          </ac:picMkLst>
        </pc:picChg>
        <pc:picChg chg="mod">
          <ac:chgData name="Melaerts Frédéric" userId="e63e2408-a9ae-43c8-8f5f-37811e9e956a" providerId="ADAL" clId="{7B18185B-35CE-44C0-911D-6C70AFCC39ED}" dt="2024-07-08T10:03:48.221" v="61" actId="2711"/>
          <ac:picMkLst>
            <pc:docMk/>
            <pc:sldMk cId="1732030646" sldId="2142533196"/>
            <ac:picMk id="1028" creationId="{31C3E491-AF4C-D866-B96E-74CD63BA00E4}"/>
          </ac:picMkLst>
        </pc:picChg>
        <pc:picChg chg="mod">
          <ac:chgData name="Melaerts Frédéric" userId="e63e2408-a9ae-43c8-8f5f-37811e9e956a" providerId="ADAL" clId="{7B18185B-35CE-44C0-911D-6C70AFCC39ED}" dt="2024-07-08T10:03:48.221" v="61" actId="2711"/>
          <ac:picMkLst>
            <pc:docMk/>
            <pc:sldMk cId="1732030646" sldId="2142533196"/>
            <ac:picMk id="1029" creationId="{BAC22C47-7A31-60DB-7301-BCA90236CE4A}"/>
          </ac:picMkLst>
        </pc:picChg>
        <pc:picChg chg="mod">
          <ac:chgData name="Melaerts Frédéric" userId="e63e2408-a9ae-43c8-8f5f-37811e9e956a" providerId="ADAL" clId="{7B18185B-35CE-44C0-911D-6C70AFCC39ED}" dt="2024-07-08T10:03:48.221" v="61" actId="2711"/>
          <ac:picMkLst>
            <pc:docMk/>
            <pc:sldMk cId="1732030646" sldId="2142533196"/>
            <ac:picMk id="1047" creationId="{CAE184FD-0770-7B99-9434-692B33D21306}"/>
          </ac:picMkLst>
        </pc:picChg>
        <pc:picChg chg="mod">
          <ac:chgData name="Melaerts Frédéric" userId="e63e2408-a9ae-43c8-8f5f-37811e9e956a" providerId="ADAL" clId="{7B18185B-35CE-44C0-911D-6C70AFCC39ED}" dt="2024-07-08T10:03:48.221" v="61" actId="2711"/>
          <ac:picMkLst>
            <pc:docMk/>
            <pc:sldMk cId="1732030646" sldId="2142533196"/>
            <ac:picMk id="1051" creationId="{66775BC5-10E2-E0F8-B0FB-96E2DF542421}"/>
          </ac:picMkLst>
        </pc:picChg>
        <pc:picChg chg="mod">
          <ac:chgData name="Melaerts Frédéric" userId="e63e2408-a9ae-43c8-8f5f-37811e9e956a" providerId="ADAL" clId="{7B18185B-35CE-44C0-911D-6C70AFCC39ED}" dt="2024-07-08T10:03:48.221" v="61" actId="2711"/>
          <ac:picMkLst>
            <pc:docMk/>
            <pc:sldMk cId="1732030646" sldId="2142533196"/>
            <ac:picMk id="1052" creationId="{AAF726A9-D2EA-FE84-EE98-3FE4AE0574D4}"/>
          </ac:picMkLst>
        </pc:pic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030" creationId="{D8F98D54-1FB0-131C-A7B3-72123C86CB6C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031" creationId="{B4862362-D8A9-3D04-E166-E929BE6F3A29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032" creationId="{4C431126-4F09-0821-63D8-872A3A8B8954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033" creationId="{AAF9D896-2C54-049E-FD87-6C86D1FD841E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034" creationId="{D899C57C-1188-4570-79D7-957E25B7CD2D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035" creationId="{FDEB549E-9FED-53D7-AD33-F8CFBD27948C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036" creationId="{94DBCE65-32F6-F64B-865F-A1CF91CC22F3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037" creationId="{FC19350B-0E06-9A13-1023-90BAE990D9FD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038" creationId="{17FD48B0-FA5A-D69F-4E74-A3CA52884957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039" creationId="{C366E430-FC94-DA15-29FA-A515947BF1F6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041" creationId="{EF55CAE2-FF1C-E489-650E-F6A27AB08FC1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042" creationId="{842989D1-47EB-D37C-8993-EDFD97C1E0BE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043" creationId="{53406B3D-D8E0-0500-810A-873A69D966B0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044" creationId="{676F1FD6-40C6-552A-C536-9B823650E98D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135" creationId="{30E72FFA-C30A-5546-F718-C4725820688D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137" creationId="{774E574A-9395-CECD-2AAE-F59BD62297E8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138" creationId="{4471519A-9E49-4C6C-7E5F-75C021C22F7B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139" creationId="{7F712E78-3914-B762-E443-19EF9B536232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140" creationId="{CD9D08C5-1F1D-3CBB-059F-F24823B46D62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142" creationId="{E742E396-E4B5-3CD1-9606-86733254963E}"/>
          </ac:cxnSpMkLst>
        </pc:cxnChg>
        <pc:cxnChg chg="mod">
          <ac:chgData name="Melaerts Frédéric" userId="e63e2408-a9ae-43c8-8f5f-37811e9e956a" providerId="ADAL" clId="{7B18185B-35CE-44C0-911D-6C70AFCC39ED}" dt="2024-07-08T10:03:48.221" v="61" actId="2711"/>
          <ac:cxnSpMkLst>
            <pc:docMk/>
            <pc:sldMk cId="1732030646" sldId="2142533196"/>
            <ac:cxnSpMk id="1146" creationId="{7D874870-6B7A-8F41-0231-39ACA9D4EAEA}"/>
          </ac:cxnSpMkLst>
        </pc:cxnChg>
      </pc:sldChg>
      <pc:sldChg chg="modSp mod modAnim">
        <pc:chgData name="Melaerts Frédéric" userId="e63e2408-a9ae-43c8-8f5f-37811e9e956a" providerId="ADAL" clId="{7B18185B-35CE-44C0-911D-6C70AFCC39ED}" dt="2024-07-08T17:38:50.957" v="1254"/>
        <pc:sldMkLst>
          <pc:docMk/>
          <pc:sldMk cId="2899547110" sldId="2142533197"/>
        </pc:sldMkLst>
        <pc:spChg chg="mod">
          <ac:chgData name="Melaerts Frédéric" userId="e63e2408-a9ae-43c8-8f5f-37811e9e956a" providerId="ADAL" clId="{7B18185B-35CE-44C0-911D-6C70AFCC39ED}" dt="2024-07-08T10:04:11.495" v="63" actId="2711"/>
          <ac:spMkLst>
            <pc:docMk/>
            <pc:sldMk cId="2899547110" sldId="2142533197"/>
            <ac:spMk id="2" creationId="{7C811E99-F9F0-4692-BCDE-C6E08B217F96}"/>
          </ac:spMkLst>
        </pc:spChg>
        <pc:spChg chg="mod">
          <ac:chgData name="Melaerts Frédéric" userId="e63e2408-a9ae-43c8-8f5f-37811e9e956a" providerId="ADAL" clId="{7B18185B-35CE-44C0-911D-6C70AFCC39ED}" dt="2024-07-08T10:04:11.495" v="63" actId="2711"/>
          <ac:spMkLst>
            <pc:docMk/>
            <pc:sldMk cId="2899547110" sldId="2142533197"/>
            <ac:spMk id="4" creationId="{898E25C0-B1F1-AF97-EE5B-543686AB4E35}"/>
          </ac:spMkLst>
        </pc:spChg>
        <pc:spChg chg="mod">
          <ac:chgData name="Melaerts Frédéric" userId="e63e2408-a9ae-43c8-8f5f-37811e9e956a" providerId="ADAL" clId="{7B18185B-35CE-44C0-911D-6C70AFCC39ED}" dt="2024-07-08T10:04:11.495" v="63" actId="2711"/>
          <ac:spMkLst>
            <pc:docMk/>
            <pc:sldMk cId="2899547110" sldId="2142533197"/>
            <ac:spMk id="6" creationId="{6C48CD0D-22EF-941B-33FD-DB9E335CEDC4}"/>
          </ac:spMkLst>
        </pc:spChg>
        <pc:spChg chg="mod">
          <ac:chgData name="Melaerts Frédéric" userId="e63e2408-a9ae-43c8-8f5f-37811e9e956a" providerId="ADAL" clId="{7B18185B-35CE-44C0-911D-6C70AFCC39ED}" dt="2024-07-08T10:04:11.495" v="63" actId="2711"/>
          <ac:spMkLst>
            <pc:docMk/>
            <pc:sldMk cId="2899547110" sldId="2142533197"/>
            <ac:spMk id="8" creationId="{9DF75443-501B-F577-8E7C-5F50F32645E9}"/>
          </ac:spMkLst>
        </pc:spChg>
        <pc:spChg chg="mod">
          <ac:chgData name="Melaerts Frédéric" userId="e63e2408-a9ae-43c8-8f5f-37811e9e956a" providerId="ADAL" clId="{7B18185B-35CE-44C0-911D-6C70AFCC39ED}" dt="2024-07-08T10:04:11.495" v="63" actId="2711"/>
          <ac:spMkLst>
            <pc:docMk/>
            <pc:sldMk cId="2899547110" sldId="2142533197"/>
            <ac:spMk id="9" creationId="{420C4F04-6272-B1AB-4FFC-6AA6B9B29806}"/>
          </ac:spMkLst>
        </pc:spChg>
        <pc:spChg chg="mod">
          <ac:chgData name="Melaerts Frédéric" userId="e63e2408-a9ae-43c8-8f5f-37811e9e956a" providerId="ADAL" clId="{7B18185B-35CE-44C0-911D-6C70AFCC39ED}" dt="2024-07-08T10:04:11.495" v="63" actId="2711"/>
          <ac:spMkLst>
            <pc:docMk/>
            <pc:sldMk cId="2899547110" sldId="2142533197"/>
            <ac:spMk id="18" creationId="{B03C922F-C7D5-7A78-4ACA-045EDF046937}"/>
          </ac:spMkLst>
        </pc:spChg>
        <pc:spChg chg="mod">
          <ac:chgData name="Melaerts Frédéric" userId="e63e2408-a9ae-43c8-8f5f-37811e9e956a" providerId="ADAL" clId="{7B18185B-35CE-44C0-911D-6C70AFCC39ED}" dt="2024-07-08T10:04:11.495" v="63" actId="2711"/>
          <ac:spMkLst>
            <pc:docMk/>
            <pc:sldMk cId="2899547110" sldId="2142533197"/>
            <ac:spMk id="20" creationId="{C2E3C99E-D0BF-F625-7D3D-BFB0EA96C48F}"/>
          </ac:spMkLst>
        </pc:spChg>
        <pc:spChg chg="mod">
          <ac:chgData name="Melaerts Frédéric" userId="e63e2408-a9ae-43c8-8f5f-37811e9e956a" providerId="ADAL" clId="{7B18185B-35CE-44C0-911D-6C70AFCC39ED}" dt="2024-07-08T10:04:11.495" v="63" actId="2711"/>
          <ac:spMkLst>
            <pc:docMk/>
            <pc:sldMk cId="2899547110" sldId="2142533197"/>
            <ac:spMk id="23" creationId="{D28F6577-9BDA-72C3-A400-9151A67B3F4D}"/>
          </ac:spMkLst>
        </pc:spChg>
        <pc:spChg chg="mod">
          <ac:chgData name="Melaerts Frédéric" userId="e63e2408-a9ae-43c8-8f5f-37811e9e956a" providerId="ADAL" clId="{7B18185B-35CE-44C0-911D-6C70AFCC39ED}" dt="2024-07-08T10:04:11.495" v="63" actId="2711"/>
          <ac:spMkLst>
            <pc:docMk/>
            <pc:sldMk cId="2899547110" sldId="2142533197"/>
            <ac:spMk id="25" creationId="{3AB115B4-FF3F-AC71-2990-9769F8526672}"/>
          </ac:spMkLst>
        </pc:spChg>
        <pc:spChg chg="mod">
          <ac:chgData name="Melaerts Frédéric" userId="e63e2408-a9ae-43c8-8f5f-37811e9e956a" providerId="ADAL" clId="{7B18185B-35CE-44C0-911D-6C70AFCC39ED}" dt="2024-07-08T10:04:11.495" v="63" actId="2711"/>
          <ac:spMkLst>
            <pc:docMk/>
            <pc:sldMk cId="2899547110" sldId="2142533197"/>
            <ac:spMk id="26" creationId="{DDC204AE-6D7E-7C7F-4BE8-66E566682403}"/>
          </ac:spMkLst>
        </pc:spChg>
        <pc:spChg chg="mod">
          <ac:chgData name="Melaerts Frédéric" userId="e63e2408-a9ae-43c8-8f5f-37811e9e956a" providerId="ADAL" clId="{7B18185B-35CE-44C0-911D-6C70AFCC39ED}" dt="2024-07-08T10:02:52.286" v="53" actId="207"/>
          <ac:spMkLst>
            <pc:docMk/>
            <pc:sldMk cId="2899547110" sldId="2142533197"/>
            <ac:spMk id="27" creationId="{5421B53B-3B69-849C-27F0-9BEA2CD21CE8}"/>
          </ac:spMkLst>
        </pc:spChg>
        <pc:spChg chg="mod">
          <ac:chgData name="Melaerts Frédéric" userId="e63e2408-a9ae-43c8-8f5f-37811e9e956a" providerId="ADAL" clId="{7B18185B-35CE-44C0-911D-6C70AFCC39ED}" dt="2024-07-08T10:04:11.495" v="63" actId="2711"/>
          <ac:spMkLst>
            <pc:docMk/>
            <pc:sldMk cId="2899547110" sldId="2142533197"/>
            <ac:spMk id="1053" creationId="{0749ECB1-F585-1D78-5241-2F185C5BD66F}"/>
          </ac:spMkLst>
        </pc:spChg>
        <pc:spChg chg="mod">
          <ac:chgData name="Melaerts Frédéric" userId="e63e2408-a9ae-43c8-8f5f-37811e9e956a" providerId="ADAL" clId="{7B18185B-35CE-44C0-911D-6C70AFCC39ED}" dt="2024-07-08T10:04:11.495" v="63" actId="2711"/>
          <ac:spMkLst>
            <pc:docMk/>
            <pc:sldMk cId="2899547110" sldId="2142533197"/>
            <ac:spMk id="1073" creationId="{B6D3CA99-231D-F0EC-5EA9-874F8310A8B8}"/>
          </ac:spMkLst>
        </pc:spChg>
        <pc:spChg chg="mod">
          <ac:chgData name="Melaerts Frédéric" userId="e63e2408-a9ae-43c8-8f5f-37811e9e956a" providerId="ADAL" clId="{7B18185B-35CE-44C0-911D-6C70AFCC39ED}" dt="2024-07-08T10:04:11.495" v="63" actId="2711"/>
          <ac:spMkLst>
            <pc:docMk/>
            <pc:sldMk cId="2899547110" sldId="2142533197"/>
            <ac:spMk id="1084" creationId="{096CB886-AED3-3C68-CC42-93AD37C9C21F}"/>
          </ac:spMkLst>
        </pc:spChg>
        <pc:spChg chg="mod">
          <ac:chgData name="Melaerts Frédéric" userId="e63e2408-a9ae-43c8-8f5f-37811e9e956a" providerId="ADAL" clId="{7B18185B-35CE-44C0-911D-6C70AFCC39ED}" dt="2024-07-08T10:04:11.495" v="63" actId="2711"/>
          <ac:spMkLst>
            <pc:docMk/>
            <pc:sldMk cId="2899547110" sldId="2142533197"/>
            <ac:spMk id="1087" creationId="{44464D86-28E2-C6D2-6CDD-F628CA174CD8}"/>
          </ac:spMkLst>
        </pc:spChg>
        <pc:spChg chg="mod">
          <ac:chgData name="Melaerts Frédéric" userId="e63e2408-a9ae-43c8-8f5f-37811e9e956a" providerId="ADAL" clId="{7B18185B-35CE-44C0-911D-6C70AFCC39ED}" dt="2024-07-08T10:04:11.495" v="63" actId="2711"/>
          <ac:spMkLst>
            <pc:docMk/>
            <pc:sldMk cId="2899547110" sldId="2142533197"/>
            <ac:spMk id="1090" creationId="{92DA5A74-E7CD-B72F-A344-01E81F9389B7}"/>
          </ac:spMkLst>
        </pc:spChg>
        <pc:spChg chg="mod">
          <ac:chgData name="Melaerts Frédéric" userId="e63e2408-a9ae-43c8-8f5f-37811e9e956a" providerId="ADAL" clId="{7B18185B-35CE-44C0-911D-6C70AFCC39ED}" dt="2024-07-08T10:04:11.495" v="63" actId="2711"/>
          <ac:spMkLst>
            <pc:docMk/>
            <pc:sldMk cId="2899547110" sldId="2142533197"/>
            <ac:spMk id="1161" creationId="{70102454-3512-E054-7A29-77DC67644845}"/>
          </ac:spMkLst>
        </pc:spChg>
        <pc:grpChg chg="mod">
          <ac:chgData name="Melaerts Frédéric" userId="e63e2408-a9ae-43c8-8f5f-37811e9e956a" providerId="ADAL" clId="{7B18185B-35CE-44C0-911D-6C70AFCC39ED}" dt="2024-07-08T10:04:11.495" v="63" actId="2711"/>
          <ac:grpSpMkLst>
            <pc:docMk/>
            <pc:sldMk cId="2899547110" sldId="2142533197"/>
            <ac:grpSpMk id="31" creationId="{145648AA-6103-F281-FE5E-79F5EA9CF238}"/>
          </ac:grpSpMkLst>
        </pc:grpChg>
        <pc:grpChg chg="mod">
          <ac:chgData name="Melaerts Frédéric" userId="e63e2408-a9ae-43c8-8f5f-37811e9e956a" providerId="ADAL" clId="{7B18185B-35CE-44C0-911D-6C70AFCC39ED}" dt="2024-07-08T10:04:11.495" v="63" actId="2711"/>
          <ac:grpSpMkLst>
            <pc:docMk/>
            <pc:sldMk cId="2899547110" sldId="2142533197"/>
            <ac:grpSpMk id="1125" creationId="{33C99C5A-4B0F-6D39-BF8A-DF13D53E7F91}"/>
          </ac:grpSpMkLst>
        </pc:grpChg>
        <pc:grpChg chg="mod">
          <ac:chgData name="Melaerts Frédéric" userId="e63e2408-a9ae-43c8-8f5f-37811e9e956a" providerId="ADAL" clId="{7B18185B-35CE-44C0-911D-6C70AFCC39ED}" dt="2024-07-08T10:04:11.495" v="63" actId="2711"/>
          <ac:grpSpMkLst>
            <pc:docMk/>
            <pc:sldMk cId="2899547110" sldId="2142533197"/>
            <ac:grpSpMk id="1154" creationId="{F08F6F77-2B9C-C648-55C5-95168BA2985A}"/>
          </ac:grpSpMkLst>
        </pc:grpChg>
        <pc:graphicFrameChg chg="mod">
          <ac:chgData name="Melaerts Frédéric" userId="e63e2408-a9ae-43c8-8f5f-37811e9e956a" providerId="ADAL" clId="{7B18185B-35CE-44C0-911D-6C70AFCC39ED}" dt="2024-07-08T17:38:27.913" v="1250"/>
          <ac:graphicFrameMkLst>
            <pc:docMk/>
            <pc:sldMk cId="2899547110" sldId="2142533197"/>
            <ac:graphicFrameMk id="3" creationId="{E23CA9FC-CD3D-6FA5-AD0A-5538651CDE78}"/>
          </ac:graphicFrameMkLst>
        </pc:graphicFrameChg>
        <pc:picChg chg="mod">
          <ac:chgData name="Melaerts Frédéric" userId="e63e2408-a9ae-43c8-8f5f-37811e9e956a" providerId="ADAL" clId="{7B18185B-35CE-44C0-911D-6C70AFCC39ED}" dt="2024-07-08T10:04:11.495" v="63" actId="2711"/>
          <ac:picMkLst>
            <pc:docMk/>
            <pc:sldMk cId="2899547110" sldId="2142533197"/>
            <ac:picMk id="1047" creationId="{CAE184FD-0770-7B99-9434-692B33D21306}"/>
          </ac:picMkLst>
        </pc:picChg>
        <pc:picChg chg="mod">
          <ac:chgData name="Melaerts Frédéric" userId="e63e2408-a9ae-43c8-8f5f-37811e9e956a" providerId="ADAL" clId="{7B18185B-35CE-44C0-911D-6C70AFCC39ED}" dt="2024-07-08T10:04:11.495" v="63" actId="2711"/>
          <ac:picMkLst>
            <pc:docMk/>
            <pc:sldMk cId="2899547110" sldId="2142533197"/>
            <ac:picMk id="1051" creationId="{66775BC5-10E2-E0F8-B0FB-96E2DF542421}"/>
          </ac:picMkLst>
        </pc:picChg>
        <pc:picChg chg="mod">
          <ac:chgData name="Melaerts Frédéric" userId="e63e2408-a9ae-43c8-8f5f-37811e9e956a" providerId="ADAL" clId="{7B18185B-35CE-44C0-911D-6C70AFCC39ED}" dt="2024-07-08T10:04:11.495" v="63" actId="2711"/>
          <ac:picMkLst>
            <pc:docMk/>
            <pc:sldMk cId="2899547110" sldId="2142533197"/>
            <ac:picMk id="1052" creationId="{AAF726A9-D2EA-FE84-EE98-3FE4AE0574D4}"/>
          </ac:picMkLst>
        </pc:picChg>
        <pc:picChg chg="mod">
          <ac:chgData name="Melaerts Frédéric" userId="e63e2408-a9ae-43c8-8f5f-37811e9e956a" providerId="ADAL" clId="{7B18185B-35CE-44C0-911D-6C70AFCC39ED}" dt="2024-07-08T10:04:11.495" v="63" actId="2711"/>
          <ac:picMkLst>
            <pc:docMk/>
            <pc:sldMk cId="2899547110" sldId="2142533197"/>
            <ac:picMk id="1136" creationId="{B6D654DB-51B5-34DF-F224-FEE5AC5896DF}"/>
          </ac:picMkLst>
        </pc:picChg>
        <pc:picChg chg="mod">
          <ac:chgData name="Melaerts Frédéric" userId="e63e2408-a9ae-43c8-8f5f-37811e9e956a" providerId="ADAL" clId="{7B18185B-35CE-44C0-911D-6C70AFCC39ED}" dt="2024-07-08T10:04:11.495" v="63" actId="2711"/>
          <ac:picMkLst>
            <pc:docMk/>
            <pc:sldMk cId="2899547110" sldId="2142533197"/>
            <ac:picMk id="1141" creationId="{4B52D127-3D70-71A7-07C0-C64F4E1852CE}"/>
          </ac:picMkLst>
        </pc:picChg>
        <pc:picChg chg="mod">
          <ac:chgData name="Melaerts Frédéric" userId="e63e2408-a9ae-43c8-8f5f-37811e9e956a" providerId="ADAL" clId="{7B18185B-35CE-44C0-911D-6C70AFCC39ED}" dt="2024-07-08T10:04:11.495" v="63" actId="2711"/>
          <ac:picMkLst>
            <pc:docMk/>
            <pc:sldMk cId="2899547110" sldId="2142533197"/>
            <ac:picMk id="1143" creationId="{C456C0C6-38BA-CFAB-059B-27911FF1983A}"/>
          </ac:picMkLst>
        </pc:picChg>
        <pc:picChg chg="mod">
          <ac:chgData name="Melaerts Frédéric" userId="e63e2408-a9ae-43c8-8f5f-37811e9e956a" providerId="ADAL" clId="{7B18185B-35CE-44C0-911D-6C70AFCC39ED}" dt="2024-07-08T10:04:11.495" v="63" actId="2711"/>
          <ac:picMkLst>
            <pc:docMk/>
            <pc:sldMk cId="2899547110" sldId="2142533197"/>
            <ac:picMk id="1144" creationId="{D0A34DFA-00DA-7D9E-6753-828B404D3441}"/>
          </ac:picMkLst>
        </pc:pic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35" creationId="{30E72FFA-C30A-5546-F718-C4725820688D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37" creationId="{774E574A-9395-CECD-2AAE-F59BD62297E8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38" creationId="{4471519A-9E49-4C6C-7E5F-75C021C22F7B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39" creationId="{7F712E78-3914-B762-E443-19EF9B536232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40" creationId="{CD9D08C5-1F1D-3CBB-059F-F24823B46D62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42" creationId="{E742E396-E4B5-3CD1-9606-86733254963E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45" creationId="{70B1387F-E041-4F21-E224-7EBCE0553081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46" creationId="{7D874870-6B7A-8F41-0231-39ACA9D4EAEA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47" creationId="{2F6C3D9A-FAAF-AD72-1B31-DAF955D3BAA8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48" creationId="{EA048104-358C-B30B-EC15-023F2E79F8A6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49" creationId="{CAA1AA9D-2427-E9D4-6BEF-ECBB9E4C90F9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50" creationId="{38F96D70-9A89-7FE5-65B1-B0A63A733478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51" creationId="{D550BD2D-1E04-127E-717D-E8C64C9B57E8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52" creationId="{C26099CB-A445-33A0-3F0B-E34D525C52FB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53" creationId="{2571C612-DEEF-11C2-EC00-E8EB86C21C33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55" creationId="{57337401-D170-ECB1-61FF-4AC02BFA2126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58" creationId="{0B64CA31-A954-0320-F5B0-901BABCCD7B3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59" creationId="{705AC455-7182-6918-5D7A-4C574128DD23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60" creationId="{BEB7B260-14D6-A9D0-8516-AAB13647F5C9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62" creationId="{06476115-1811-8728-03B6-EF0294711683}"/>
          </ac:cxnSpMkLst>
        </pc:cxnChg>
        <pc:cxnChg chg="mod">
          <ac:chgData name="Melaerts Frédéric" userId="e63e2408-a9ae-43c8-8f5f-37811e9e956a" providerId="ADAL" clId="{7B18185B-35CE-44C0-911D-6C70AFCC39ED}" dt="2024-07-08T10:04:11.495" v="63" actId="2711"/>
          <ac:cxnSpMkLst>
            <pc:docMk/>
            <pc:sldMk cId="2899547110" sldId="2142533197"/>
            <ac:cxnSpMk id="1163" creationId="{0179E753-BD79-CB04-1881-FF3B8B95B9A7}"/>
          </ac:cxnSpMkLst>
        </pc:cxnChg>
      </pc:sldChg>
      <pc:sldChg chg="addSp modSp mod modAnim modNotesTx">
        <pc:chgData name="Melaerts Frédéric" userId="e63e2408-a9ae-43c8-8f5f-37811e9e956a" providerId="ADAL" clId="{7B18185B-35CE-44C0-911D-6C70AFCC39ED}" dt="2024-07-08T20:06:07.035" v="1379" actId="2711"/>
        <pc:sldMkLst>
          <pc:docMk/>
          <pc:sldMk cId="2973898293" sldId="2142533201"/>
        </pc:sldMkLst>
        <pc:spChg chg="mod">
          <ac:chgData name="Melaerts Frédéric" userId="e63e2408-a9ae-43c8-8f5f-37811e9e956a" providerId="ADAL" clId="{7B18185B-35CE-44C0-911D-6C70AFCC39ED}" dt="2024-07-08T20:06:07.035" v="1379" actId="2711"/>
          <ac:spMkLst>
            <pc:docMk/>
            <pc:sldMk cId="2973898293" sldId="2142533201"/>
            <ac:spMk id="2" creationId="{31DF3992-5074-E64C-471D-DBB1D373BAF6}"/>
          </ac:spMkLst>
        </pc:spChg>
        <pc:spChg chg="mod">
          <ac:chgData name="Melaerts Frédéric" userId="e63e2408-a9ae-43c8-8f5f-37811e9e956a" providerId="ADAL" clId="{7B18185B-35CE-44C0-911D-6C70AFCC39ED}" dt="2024-07-08T20:06:07.035" v="1379" actId="2711"/>
          <ac:spMkLst>
            <pc:docMk/>
            <pc:sldMk cId="2973898293" sldId="2142533201"/>
            <ac:spMk id="12" creationId="{11660F7A-F13D-4FD8-1104-18E87C110859}"/>
          </ac:spMkLst>
        </pc:spChg>
        <pc:spChg chg="mod">
          <ac:chgData name="Melaerts Frédéric" userId="e63e2408-a9ae-43c8-8f5f-37811e9e956a" providerId="ADAL" clId="{7B18185B-35CE-44C0-911D-6C70AFCC39ED}" dt="2024-07-08T20:06:07.035" v="1379" actId="2711"/>
          <ac:spMkLst>
            <pc:docMk/>
            <pc:sldMk cId="2973898293" sldId="2142533201"/>
            <ac:spMk id="14" creationId="{DF64F5D5-5608-9808-87A6-F6C4A20110C1}"/>
          </ac:spMkLst>
        </pc:spChg>
        <pc:spChg chg="mod">
          <ac:chgData name="Melaerts Frédéric" userId="e63e2408-a9ae-43c8-8f5f-37811e9e956a" providerId="ADAL" clId="{7B18185B-35CE-44C0-911D-6C70AFCC39ED}" dt="2024-07-08T20:06:07.035" v="1379" actId="2711"/>
          <ac:spMkLst>
            <pc:docMk/>
            <pc:sldMk cId="2973898293" sldId="2142533201"/>
            <ac:spMk id="19" creationId="{5DB1F33F-25BD-675A-271D-CB95AA355AB9}"/>
          </ac:spMkLst>
        </pc:spChg>
        <pc:spChg chg="mod">
          <ac:chgData name="Melaerts Frédéric" userId="e63e2408-a9ae-43c8-8f5f-37811e9e956a" providerId="ADAL" clId="{7B18185B-35CE-44C0-911D-6C70AFCC39ED}" dt="2024-07-08T20:06:07.035" v="1379" actId="2711"/>
          <ac:spMkLst>
            <pc:docMk/>
            <pc:sldMk cId="2973898293" sldId="2142533201"/>
            <ac:spMk id="25" creationId="{C715EE4F-F7EC-4195-0824-ED3354BE2438}"/>
          </ac:spMkLst>
        </pc:spChg>
        <pc:spChg chg="mod">
          <ac:chgData name="Melaerts Frédéric" userId="e63e2408-a9ae-43c8-8f5f-37811e9e956a" providerId="ADAL" clId="{7B18185B-35CE-44C0-911D-6C70AFCC39ED}" dt="2024-07-08T20:06:07.035" v="1379" actId="2711"/>
          <ac:spMkLst>
            <pc:docMk/>
            <pc:sldMk cId="2973898293" sldId="2142533201"/>
            <ac:spMk id="41" creationId="{E1BCFE6D-2418-868A-3A30-453336805E5F}"/>
          </ac:spMkLst>
        </pc:spChg>
        <pc:spChg chg="mod">
          <ac:chgData name="Melaerts Frédéric" userId="e63e2408-a9ae-43c8-8f5f-37811e9e956a" providerId="ADAL" clId="{7B18185B-35CE-44C0-911D-6C70AFCC39ED}" dt="2024-07-08T20:06:07.035" v="1379" actId="2711"/>
          <ac:spMkLst>
            <pc:docMk/>
            <pc:sldMk cId="2973898293" sldId="2142533201"/>
            <ac:spMk id="42" creationId="{2F653240-088E-9724-4A16-85ADA7CA09BA}"/>
          </ac:spMkLst>
        </pc:spChg>
        <pc:spChg chg="mod">
          <ac:chgData name="Melaerts Frédéric" userId="e63e2408-a9ae-43c8-8f5f-37811e9e956a" providerId="ADAL" clId="{7B18185B-35CE-44C0-911D-6C70AFCC39ED}" dt="2024-07-08T20:06:07.035" v="1379" actId="2711"/>
          <ac:spMkLst>
            <pc:docMk/>
            <pc:sldMk cId="2973898293" sldId="2142533201"/>
            <ac:spMk id="56" creationId="{9D69B920-1AC3-4804-99C1-85444397D710}"/>
          </ac:spMkLst>
        </pc:spChg>
        <pc:spChg chg="mod">
          <ac:chgData name="Melaerts Frédéric" userId="e63e2408-a9ae-43c8-8f5f-37811e9e956a" providerId="ADAL" clId="{7B18185B-35CE-44C0-911D-6C70AFCC39ED}" dt="2024-07-08T20:06:07.035" v="1379" actId="2711"/>
          <ac:spMkLst>
            <pc:docMk/>
            <pc:sldMk cId="2973898293" sldId="2142533201"/>
            <ac:spMk id="57" creationId="{E1739311-C059-24FD-EDD7-A9746C7424FD}"/>
          </ac:spMkLst>
        </pc:spChg>
        <pc:spChg chg="mod">
          <ac:chgData name="Melaerts Frédéric" userId="e63e2408-a9ae-43c8-8f5f-37811e9e956a" providerId="ADAL" clId="{7B18185B-35CE-44C0-911D-6C70AFCC39ED}" dt="2024-07-08T20:06:07.035" v="1379" actId="2711"/>
          <ac:spMkLst>
            <pc:docMk/>
            <pc:sldMk cId="2973898293" sldId="2142533201"/>
            <ac:spMk id="60" creationId="{18C10EA6-04C7-1279-15E8-D321C47E2303}"/>
          </ac:spMkLst>
        </pc:spChg>
        <pc:spChg chg="mod">
          <ac:chgData name="Melaerts Frédéric" userId="e63e2408-a9ae-43c8-8f5f-37811e9e956a" providerId="ADAL" clId="{7B18185B-35CE-44C0-911D-6C70AFCC39ED}" dt="2024-07-08T20:06:07.035" v="1379" actId="2711"/>
          <ac:spMkLst>
            <pc:docMk/>
            <pc:sldMk cId="2973898293" sldId="2142533201"/>
            <ac:spMk id="61" creationId="{990CF12A-3D8F-D559-E3AC-C109C7839A0B}"/>
          </ac:spMkLst>
        </pc:spChg>
        <pc:spChg chg="mod">
          <ac:chgData name="Melaerts Frédéric" userId="e63e2408-a9ae-43c8-8f5f-37811e9e956a" providerId="ADAL" clId="{7B18185B-35CE-44C0-911D-6C70AFCC39ED}" dt="2024-07-08T20:06:07.035" v="1379" actId="2711"/>
          <ac:spMkLst>
            <pc:docMk/>
            <pc:sldMk cId="2973898293" sldId="2142533201"/>
            <ac:spMk id="2051" creationId="{F46D07F9-7234-E04E-6763-EE06A47A39B3}"/>
          </ac:spMkLst>
        </pc:spChg>
        <pc:spChg chg="mod">
          <ac:chgData name="Melaerts Frédéric" userId="e63e2408-a9ae-43c8-8f5f-37811e9e956a" providerId="ADAL" clId="{7B18185B-35CE-44C0-911D-6C70AFCC39ED}" dt="2024-07-08T20:06:07.035" v="1379" actId="2711"/>
          <ac:spMkLst>
            <pc:docMk/>
            <pc:sldMk cId="2973898293" sldId="2142533201"/>
            <ac:spMk id="2053" creationId="{72131A89-10DB-F031-19C0-0F03910650E1}"/>
          </ac:spMkLst>
        </pc:spChg>
        <pc:spChg chg="mod">
          <ac:chgData name="Melaerts Frédéric" userId="e63e2408-a9ae-43c8-8f5f-37811e9e956a" providerId="ADAL" clId="{7B18185B-35CE-44C0-911D-6C70AFCC39ED}" dt="2024-07-08T20:06:07.035" v="1379" actId="2711"/>
          <ac:spMkLst>
            <pc:docMk/>
            <pc:sldMk cId="2973898293" sldId="2142533201"/>
            <ac:spMk id="2054" creationId="{630B5125-44F6-CE1E-A50D-1775B8299CF8}"/>
          </ac:spMkLst>
        </pc:spChg>
        <pc:spChg chg="mod">
          <ac:chgData name="Melaerts Frédéric" userId="e63e2408-a9ae-43c8-8f5f-37811e9e956a" providerId="ADAL" clId="{7B18185B-35CE-44C0-911D-6C70AFCC39ED}" dt="2024-07-08T20:06:07.035" v="1379" actId="2711"/>
          <ac:spMkLst>
            <pc:docMk/>
            <pc:sldMk cId="2973898293" sldId="2142533201"/>
            <ac:spMk id="2056" creationId="{B00855FA-842E-F7ED-2165-FE53EA0D459A}"/>
          </ac:spMkLst>
        </pc:spChg>
        <pc:spChg chg="mod">
          <ac:chgData name="Melaerts Frédéric" userId="e63e2408-a9ae-43c8-8f5f-37811e9e956a" providerId="ADAL" clId="{7B18185B-35CE-44C0-911D-6C70AFCC39ED}" dt="2024-07-08T20:06:07.035" v="1379" actId="2711"/>
          <ac:spMkLst>
            <pc:docMk/>
            <pc:sldMk cId="2973898293" sldId="2142533201"/>
            <ac:spMk id="2058" creationId="{ED1FD80F-4508-52AF-5F54-970520B7A7A4}"/>
          </ac:spMkLst>
        </pc:spChg>
        <pc:spChg chg="mod">
          <ac:chgData name="Melaerts Frédéric" userId="e63e2408-a9ae-43c8-8f5f-37811e9e956a" providerId="ADAL" clId="{7B18185B-35CE-44C0-911D-6C70AFCC39ED}" dt="2024-07-08T20:06:07.035" v="1379" actId="2711"/>
          <ac:spMkLst>
            <pc:docMk/>
            <pc:sldMk cId="2973898293" sldId="2142533201"/>
            <ac:spMk id="2059" creationId="{C7926C6A-5C20-A5DE-A692-4947824DD6B0}"/>
          </ac:spMkLst>
        </pc:spChg>
        <pc:spChg chg="mod">
          <ac:chgData name="Melaerts Frédéric" userId="e63e2408-a9ae-43c8-8f5f-37811e9e956a" providerId="ADAL" clId="{7B18185B-35CE-44C0-911D-6C70AFCC39ED}" dt="2024-07-08T20:06:07.035" v="1379" actId="2711"/>
          <ac:spMkLst>
            <pc:docMk/>
            <pc:sldMk cId="2973898293" sldId="2142533201"/>
            <ac:spMk id="2060" creationId="{43DAD583-A709-5A49-A65E-4E8328EB16BF}"/>
          </ac:spMkLst>
        </pc:spChg>
        <pc:grpChg chg="add mod">
          <ac:chgData name="Melaerts Frédéric" userId="e63e2408-a9ae-43c8-8f5f-37811e9e956a" providerId="ADAL" clId="{7B18185B-35CE-44C0-911D-6C70AFCC39ED}" dt="2024-07-08T16:26:12.565" v="415" actId="164"/>
          <ac:grpSpMkLst>
            <pc:docMk/>
            <pc:sldMk cId="2973898293" sldId="2142533201"/>
            <ac:grpSpMk id="3" creationId="{CFBF57B4-5AE0-C87F-64A7-59FE34AEC39A}"/>
          </ac:grpSpMkLst>
        </pc:grpChg>
        <pc:grpChg chg="mod">
          <ac:chgData name="Melaerts Frédéric" userId="e63e2408-a9ae-43c8-8f5f-37811e9e956a" providerId="ADAL" clId="{7B18185B-35CE-44C0-911D-6C70AFCC39ED}" dt="2024-07-08T10:05:13.794" v="72" actId="207"/>
          <ac:grpSpMkLst>
            <pc:docMk/>
            <pc:sldMk cId="2973898293" sldId="2142533201"/>
            <ac:grpSpMk id="39" creationId="{A1328D32-62D4-89E1-3830-7B4FDDF7F426}"/>
          </ac:grpSpMkLst>
        </pc:grpChg>
        <pc:grpChg chg="mod">
          <ac:chgData name="Melaerts Frédéric" userId="e63e2408-a9ae-43c8-8f5f-37811e9e956a" providerId="ADAL" clId="{7B18185B-35CE-44C0-911D-6C70AFCC39ED}" dt="2024-07-08T16:26:02.273" v="411" actId="1076"/>
          <ac:grpSpMkLst>
            <pc:docMk/>
            <pc:sldMk cId="2973898293" sldId="2142533201"/>
            <ac:grpSpMk id="55" creationId="{AB5F20C9-A229-0BEF-1568-D48354BBFD51}"/>
          </ac:grpSpMkLst>
        </pc:grpChg>
        <pc:grpChg chg="mod">
          <ac:chgData name="Melaerts Frédéric" userId="e63e2408-a9ae-43c8-8f5f-37811e9e956a" providerId="ADAL" clId="{7B18185B-35CE-44C0-911D-6C70AFCC39ED}" dt="2024-07-08T16:25:05.529" v="385" actId="1035"/>
          <ac:grpSpMkLst>
            <pc:docMk/>
            <pc:sldMk cId="2973898293" sldId="2142533201"/>
            <ac:grpSpMk id="59" creationId="{D3D10315-150F-451E-B289-4B7EBC79AB98}"/>
          </ac:grpSpMkLst>
        </pc:grpChg>
        <pc:grpChg chg="mod">
          <ac:chgData name="Melaerts Frédéric" userId="e63e2408-a9ae-43c8-8f5f-37811e9e956a" providerId="ADAL" clId="{7B18185B-35CE-44C0-911D-6C70AFCC39ED}" dt="2024-07-08T16:26:08.648" v="414" actId="1076"/>
          <ac:grpSpMkLst>
            <pc:docMk/>
            <pc:sldMk cId="2973898293" sldId="2142533201"/>
            <ac:grpSpMk id="2052" creationId="{159C81D2-2C72-5881-A27D-6116F63CD7D3}"/>
          </ac:grpSpMkLst>
        </pc:grpChg>
        <pc:picChg chg="mod">
          <ac:chgData name="Melaerts Frédéric" userId="e63e2408-a9ae-43c8-8f5f-37811e9e956a" providerId="ADAL" clId="{7B18185B-35CE-44C0-911D-6C70AFCC39ED}" dt="2024-07-08T16:26:12.565" v="415" actId="164"/>
          <ac:picMkLst>
            <pc:docMk/>
            <pc:sldMk cId="2973898293" sldId="2142533201"/>
            <ac:picMk id="2062" creationId="{7E89EC64-7CF9-88DE-309E-FF30EBEA7B03}"/>
          </ac:picMkLst>
        </pc:picChg>
      </pc:sldChg>
      <pc:sldChg chg="addSp delSp modSp mod">
        <pc:chgData name="Melaerts Frédéric" userId="e63e2408-a9ae-43c8-8f5f-37811e9e956a" providerId="ADAL" clId="{7B18185B-35CE-44C0-911D-6C70AFCC39ED}" dt="2024-07-08T20:05:57.467" v="1378" actId="2711"/>
        <pc:sldMkLst>
          <pc:docMk/>
          <pc:sldMk cId="2705280032" sldId="2142533202"/>
        </pc:sldMkLst>
        <pc:spChg chg="mod">
          <ac:chgData name="Melaerts Frédéric" userId="e63e2408-a9ae-43c8-8f5f-37811e9e956a" providerId="ADAL" clId="{7B18185B-35CE-44C0-911D-6C70AFCC39ED}" dt="2024-07-08T10:07:42.954" v="107" actId="114"/>
          <ac:spMkLst>
            <pc:docMk/>
            <pc:sldMk cId="2705280032" sldId="2142533202"/>
            <ac:spMk id="5" creationId="{362BE8C6-6B2D-2147-49D2-4C04F4CCE3F7}"/>
          </ac:spMkLst>
        </pc:spChg>
        <pc:spChg chg="mod">
          <ac:chgData name="Melaerts Frédéric" userId="e63e2408-a9ae-43c8-8f5f-37811e9e956a" providerId="ADAL" clId="{7B18185B-35CE-44C0-911D-6C70AFCC39ED}" dt="2024-07-08T20:05:57.467" v="1378" actId="2711"/>
          <ac:spMkLst>
            <pc:docMk/>
            <pc:sldMk cId="2705280032" sldId="2142533202"/>
            <ac:spMk id="10" creationId="{79D0E359-26D6-0276-9C88-675CD44F550B}"/>
          </ac:spMkLst>
        </pc:spChg>
        <pc:spChg chg="add del mod">
          <ac:chgData name="Melaerts Frédéric" userId="e63e2408-a9ae-43c8-8f5f-37811e9e956a" providerId="ADAL" clId="{7B18185B-35CE-44C0-911D-6C70AFCC39ED}" dt="2024-07-08T20:05:57.467" v="1378" actId="2711"/>
          <ac:spMkLst>
            <pc:docMk/>
            <pc:sldMk cId="2705280032" sldId="2142533202"/>
            <ac:spMk id="12" creationId="{11660F7A-F13D-4FD8-1104-18E87C110859}"/>
          </ac:spMkLst>
        </pc:spChg>
        <pc:spChg chg="mod">
          <ac:chgData name="Melaerts Frédéric" userId="e63e2408-a9ae-43c8-8f5f-37811e9e956a" providerId="ADAL" clId="{7B18185B-35CE-44C0-911D-6C70AFCC39ED}" dt="2024-07-08T10:06:26.814" v="90" actId="207"/>
          <ac:spMkLst>
            <pc:docMk/>
            <pc:sldMk cId="2705280032" sldId="2142533202"/>
            <ac:spMk id="15" creationId="{89283878-726F-537D-2F70-DE806C384B9D}"/>
          </ac:spMkLst>
        </pc:spChg>
        <pc:spChg chg="mod">
          <ac:chgData name="Melaerts Frédéric" userId="e63e2408-a9ae-43c8-8f5f-37811e9e956a" providerId="ADAL" clId="{7B18185B-35CE-44C0-911D-6C70AFCC39ED}" dt="2024-07-08T10:06:31.223" v="91" actId="207"/>
          <ac:spMkLst>
            <pc:docMk/>
            <pc:sldMk cId="2705280032" sldId="2142533202"/>
            <ac:spMk id="26" creationId="{F48F1964-271D-C6E8-CC5B-0909DDB4BCFE}"/>
          </ac:spMkLst>
        </pc:spChg>
        <pc:spChg chg="mod">
          <ac:chgData name="Melaerts Frédéric" userId="e63e2408-a9ae-43c8-8f5f-37811e9e956a" providerId="ADAL" clId="{7B18185B-35CE-44C0-911D-6C70AFCC39ED}" dt="2024-07-08T10:06:34.837" v="92" actId="207"/>
          <ac:spMkLst>
            <pc:docMk/>
            <pc:sldMk cId="2705280032" sldId="2142533202"/>
            <ac:spMk id="29" creationId="{4B5CDE7B-29DA-6B66-6195-57F51E06825F}"/>
          </ac:spMkLst>
        </pc:spChg>
        <pc:spChg chg="mod">
          <ac:chgData name="Melaerts Frédéric" userId="e63e2408-a9ae-43c8-8f5f-37811e9e956a" providerId="ADAL" clId="{7B18185B-35CE-44C0-911D-6C70AFCC39ED}" dt="2024-07-08T20:05:57.467" v="1378" actId="2711"/>
          <ac:spMkLst>
            <pc:docMk/>
            <pc:sldMk cId="2705280032" sldId="2142533202"/>
            <ac:spMk id="2053" creationId="{7D25EA51-87C7-83CF-3490-C43BAF6BCAD9}"/>
          </ac:spMkLst>
        </pc:spChg>
        <pc:spChg chg="mod">
          <ac:chgData name="Melaerts Frédéric" userId="e63e2408-a9ae-43c8-8f5f-37811e9e956a" providerId="ADAL" clId="{7B18185B-35CE-44C0-911D-6C70AFCC39ED}" dt="2024-07-08T20:05:57.467" v="1378" actId="2711"/>
          <ac:spMkLst>
            <pc:docMk/>
            <pc:sldMk cId="2705280032" sldId="2142533202"/>
            <ac:spMk id="2054" creationId="{E7FE514C-0A56-081B-CC08-CD1D0CCBBB9D}"/>
          </ac:spMkLst>
        </pc:spChg>
        <pc:spChg chg="mod">
          <ac:chgData name="Melaerts Frédéric" userId="e63e2408-a9ae-43c8-8f5f-37811e9e956a" providerId="ADAL" clId="{7B18185B-35CE-44C0-911D-6C70AFCC39ED}" dt="2024-07-08T10:05:59.688" v="88" actId="207"/>
          <ac:spMkLst>
            <pc:docMk/>
            <pc:sldMk cId="2705280032" sldId="2142533202"/>
            <ac:spMk id="2056" creationId="{E12F95CE-A087-0308-6A0D-2B0310677A97}"/>
          </ac:spMkLst>
        </pc:spChg>
        <pc:spChg chg="mod">
          <ac:chgData name="Melaerts Frédéric" userId="e63e2408-a9ae-43c8-8f5f-37811e9e956a" providerId="ADAL" clId="{7B18185B-35CE-44C0-911D-6C70AFCC39ED}" dt="2024-07-08T10:07:39.241" v="106" actId="114"/>
          <ac:spMkLst>
            <pc:docMk/>
            <pc:sldMk cId="2705280032" sldId="2142533202"/>
            <ac:spMk id="2057" creationId="{D48DF8EC-8737-34C0-724D-82706FF43F71}"/>
          </ac:spMkLst>
        </pc:spChg>
        <pc:spChg chg="mod">
          <ac:chgData name="Melaerts Frédéric" userId="e63e2408-a9ae-43c8-8f5f-37811e9e956a" providerId="ADAL" clId="{7B18185B-35CE-44C0-911D-6C70AFCC39ED}" dt="2024-07-08T10:05:41.835" v="82" actId="1076"/>
          <ac:spMkLst>
            <pc:docMk/>
            <pc:sldMk cId="2705280032" sldId="2142533202"/>
            <ac:spMk id="2058" creationId="{5FFFF6DC-F3D1-5297-4378-19B3CCFF300D}"/>
          </ac:spMkLst>
        </pc:spChg>
        <pc:grpChg chg="add mod">
          <ac:chgData name="Melaerts Frédéric" userId="e63e2408-a9ae-43c8-8f5f-37811e9e956a" providerId="ADAL" clId="{7B18185B-35CE-44C0-911D-6C70AFCC39ED}" dt="2024-07-08T20:05:57.467" v="1378" actId="2711"/>
          <ac:grpSpMkLst>
            <pc:docMk/>
            <pc:sldMk cId="2705280032" sldId="2142533202"/>
            <ac:grpSpMk id="3" creationId="{E126ADC9-1179-A152-40BF-7EE561466DE2}"/>
          </ac:grpSpMkLst>
        </pc:grpChg>
        <pc:grpChg chg="add mod">
          <ac:chgData name="Melaerts Frédéric" userId="e63e2408-a9ae-43c8-8f5f-37811e9e956a" providerId="ADAL" clId="{7B18185B-35CE-44C0-911D-6C70AFCC39ED}" dt="2024-07-08T20:05:57.467" v="1378" actId="2711"/>
          <ac:grpSpMkLst>
            <pc:docMk/>
            <pc:sldMk cId="2705280032" sldId="2142533202"/>
            <ac:grpSpMk id="6" creationId="{1D3A2422-7125-CDA8-A968-4C3D0AAF88F8}"/>
          </ac:grpSpMkLst>
        </pc:grpChg>
        <pc:grpChg chg="mod">
          <ac:chgData name="Melaerts Frédéric" userId="e63e2408-a9ae-43c8-8f5f-37811e9e956a" providerId="ADAL" clId="{7B18185B-35CE-44C0-911D-6C70AFCC39ED}" dt="2024-07-08T10:06:47.273" v="99" actId="164"/>
          <ac:grpSpMkLst>
            <pc:docMk/>
            <pc:sldMk cId="2705280032" sldId="2142533202"/>
            <ac:grpSpMk id="2050" creationId="{11CCD5AC-A0DC-02B0-2420-04EAD93CAA30}"/>
          </ac:grpSpMkLst>
        </pc:grpChg>
        <pc:grpChg chg="mod">
          <ac:chgData name="Melaerts Frédéric" userId="e63e2408-a9ae-43c8-8f5f-37811e9e956a" providerId="ADAL" clId="{7B18185B-35CE-44C0-911D-6C70AFCC39ED}" dt="2024-07-08T20:05:57.467" v="1378" actId="2711"/>
          <ac:grpSpMkLst>
            <pc:docMk/>
            <pc:sldMk cId="2705280032" sldId="2142533202"/>
            <ac:grpSpMk id="2051" creationId="{0B48590C-941E-2E0C-F1EB-45CC7A7B2BF5}"/>
          </ac:grpSpMkLst>
        </pc:grpChg>
        <pc:grpChg chg="mod">
          <ac:chgData name="Melaerts Frédéric" userId="e63e2408-a9ae-43c8-8f5f-37811e9e956a" providerId="ADAL" clId="{7B18185B-35CE-44C0-911D-6C70AFCC39ED}" dt="2024-07-08T10:07:00.227" v="101" actId="164"/>
          <ac:grpSpMkLst>
            <pc:docMk/>
            <pc:sldMk cId="2705280032" sldId="2142533202"/>
            <ac:grpSpMk id="2052" creationId="{CF82BD31-84AF-ED67-5C83-D235F6A85473}"/>
          </ac:grpSpMkLst>
        </pc:grpChg>
        <pc:grpChg chg="mod">
          <ac:chgData name="Melaerts Frédéric" userId="e63e2408-a9ae-43c8-8f5f-37811e9e956a" providerId="ADAL" clId="{7B18185B-35CE-44C0-911D-6C70AFCC39ED}" dt="2024-07-08T20:05:57.467" v="1378" actId="2711"/>
          <ac:grpSpMkLst>
            <pc:docMk/>
            <pc:sldMk cId="2705280032" sldId="2142533202"/>
            <ac:grpSpMk id="2055" creationId="{3A1B8D08-0667-177E-A2AE-1B4239B60394}"/>
          </ac:grpSpMkLst>
        </pc:grpChg>
        <pc:picChg chg="mod">
          <ac:chgData name="Melaerts Frédéric" userId="e63e2408-a9ae-43c8-8f5f-37811e9e956a" providerId="ADAL" clId="{7B18185B-35CE-44C0-911D-6C70AFCC39ED}" dt="2024-07-08T10:05:41.835" v="82" actId="1076"/>
          <ac:picMkLst>
            <pc:docMk/>
            <pc:sldMk cId="2705280032" sldId="2142533202"/>
            <ac:picMk id="2059" creationId="{D1F5D2D2-6139-615C-C805-A3792CE71672}"/>
          </ac:picMkLst>
        </pc:picChg>
      </pc:sldChg>
      <pc:sldChg chg="modSp mod">
        <pc:chgData name="Melaerts Frédéric" userId="e63e2408-a9ae-43c8-8f5f-37811e9e956a" providerId="ADAL" clId="{7B18185B-35CE-44C0-911D-6C70AFCC39ED}" dt="2024-07-08T20:06:21.256" v="1380" actId="2711"/>
        <pc:sldMkLst>
          <pc:docMk/>
          <pc:sldMk cId="127179412" sldId="2142533206"/>
        </pc:sldMkLst>
        <pc:spChg chg="mod">
          <ac:chgData name="Melaerts Frédéric" userId="e63e2408-a9ae-43c8-8f5f-37811e9e956a" providerId="ADAL" clId="{7B18185B-35CE-44C0-911D-6C70AFCC39ED}" dt="2024-07-08T09:59:17.440" v="32" actId="207"/>
          <ac:spMkLst>
            <pc:docMk/>
            <pc:sldMk cId="127179412" sldId="2142533206"/>
            <ac:spMk id="3" creationId="{482A590D-91D9-C052-2BE5-0929139E2382}"/>
          </ac:spMkLst>
        </pc:spChg>
        <pc:spChg chg="mod">
          <ac:chgData name="Melaerts Frédéric" userId="e63e2408-a9ae-43c8-8f5f-37811e9e956a" providerId="ADAL" clId="{7B18185B-35CE-44C0-911D-6C70AFCC39ED}" dt="2024-07-08T20:06:21.256" v="1380" actId="2711"/>
          <ac:spMkLst>
            <pc:docMk/>
            <pc:sldMk cId="127179412" sldId="2142533206"/>
            <ac:spMk id="13" creationId="{6030B198-2A1E-8636-3B1D-934398521F47}"/>
          </ac:spMkLst>
        </pc:spChg>
        <pc:spChg chg="mod">
          <ac:chgData name="Melaerts Frédéric" userId="e63e2408-a9ae-43c8-8f5f-37811e9e956a" providerId="ADAL" clId="{7B18185B-35CE-44C0-911D-6C70AFCC39ED}" dt="2024-07-08T20:06:21.256" v="1380" actId="2711"/>
          <ac:spMkLst>
            <pc:docMk/>
            <pc:sldMk cId="127179412" sldId="2142533206"/>
            <ac:spMk id="14" creationId="{C76C50F7-D66F-EAC9-2A47-A92F6718D925}"/>
          </ac:spMkLst>
        </pc:spChg>
        <pc:spChg chg="mod">
          <ac:chgData name="Melaerts Frédéric" userId="e63e2408-a9ae-43c8-8f5f-37811e9e956a" providerId="ADAL" clId="{7B18185B-35CE-44C0-911D-6C70AFCC39ED}" dt="2024-07-08T20:06:21.256" v="1380" actId="2711"/>
          <ac:spMkLst>
            <pc:docMk/>
            <pc:sldMk cId="127179412" sldId="2142533206"/>
            <ac:spMk id="16" creationId="{6F9F741B-8E68-5B29-BF01-A730C072293A}"/>
          </ac:spMkLst>
        </pc:spChg>
        <pc:spChg chg="mod">
          <ac:chgData name="Melaerts Frédéric" userId="e63e2408-a9ae-43c8-8f5f-37811e9e956a" providerId="ADAL" clId="{7B18185B-35CE-44C0-911D-6C70AFCC39ED}" dt="2024-07-08T20:06:21.256" v="1380" actId="2711"/>
          <ac:spMkLst>
            <pc:docMk/>
            <pc:sldMk cId="127179412" sldId="2142533206"/>
            <ac:spMk id="25" creationId="{8CD06B46-EDCF-8EC4-DDD2-0B90C5D5C905}"/>
          </ac:spMkLst>
        </pc:spChg>
        <pc:spChg chg="mod">
          <ac:chgData name="Melaerts Frédéric" userId="e63e2408-a9ae-43c8-8f5f-37811e9e956a" providerId="ADAL" clId="{7B18185B-35CE-44C0-911D-6C70AFCC39ED}" dt="2024-07-08T20:06:21.256" v="1380" actId="2711"/>
          <ac:spMkLst>
            <pc:docMk/>
            <pc:sldMk cId="127179412" sldId="2142533206"/>
            <ac:spMk id="47" creationId="{100440EB-CB18-1531-BC0A-A9E3582676E0}"/>
          </ac:spMkLst>
        </pc:spChg>
        <pc:spChg chg="mod">
          <ac:chgData name="Melaerts Frédéric" userId="e63e2408-a9ae-43c8-8f5f-37811e9e956a" providerId="ADAL" clId="{7B18185B-35CE-44C0-911D-6C70AFCC39ED}" dt="2024-07-08T20:06:21.256" v="1380" actId="2711"/>
          <ac:spMkLst>
            <pc:docMk/>
            <pc:sldMk cId="127179412" sldId="2142533206"/>
            <ac:spMk id="48" creationId="{5217D3FF-B237-143D-EAD7-97F7B0AF1B54}"/>
          </ac:spMkLst>
        </pc:spChg>
        <pc:grpChg chg="mod">
          <ac:chgData name="Melaerts Frédéric" userId="e63e2408-a9ae-43c8-8f5f-37811e9e956a" providerId="ADAL" clId="{7B18185B-35CE-44C0-911D-6C70AFCC39ED}" dt="2024-07-08T20:06:21.256" v="1380" actId="2711"/>
          <ac:grpSpMkLst>
            <pc:docMk/>
            <pc:sldMk cId="127179412" sldId="2142533206"/>
            <ac:grpSpMk id="2" creationId="{CBE778EA-55DC-4E1F-453C-89E76B40C1DA}"/>
          </ac:grpSpMkLst>
        </pc:grpChg>
        <pc:grpChg chg="mod">
          <ac:chgData name="Melaerts Frédéric" userId="e63e2408-a9ae-43c8-8f5f-37811e9e956a" providerId="ADAL" clId="{7B18185B-35CE-44C0-911D-6C70AFCC39ED}" dt="2024-07-08T20:06:21.256" v="1380" actId="2711"/>
          <ac:grpSpMkLst>
            <pc:docMk/>
            <pc:sldMk cId="127179412" sldId="2142533206"/>
            <ac:grpSpMk id="36" creationId="{198B11CE-5129-63E0-1F73-8363E39782CB}"/>
          </ac:grpSpMkLst>
        </pc:grpChg>
        <pc:graphicFrameChg chg="mod">
          <ac:chgData name="Melaerts Frédéric" userId="e63e2408-a9ae-43c8-8f5f-37811e9e956a" providerId="ADAL" clId="{7B18185B-35CE-44C0-911D-6C70AFCC39ED}" dt="2024-07-08T20:06:21.256" v="1380" actId="2711"/>
          <ac:graphicFrameMkLst>
            <pc:docMk/>
            <pc:sldMk cId="127179412" sldId="2142533206"/>
            <ac:graphicFrameMk id="5" creationId="{A93C22A9-72D8-41DF-6A20-5AB4E1F84C2A}"/>
          </ac:graphicFrameMkLst>
        </pc:graphicFrameChg>
        <pc:graphicFrameChg chg="mod">
          <ac:chgData name="Melaerts Frédéric" userId="e63e2408-a9ae-43c8-8f5f-37811e9e956a" providerId="ADAL" clId="{7B18185B-35CE-44C0-911D-6C70AFCC39ED}" dt="2024-07-08T20:06:21.256" v="1380" actId="2711"/>
          <ac:graphicFrameMkLst>
            <pc:docMk/>
            <pc:sldMk cId="127179412" sldId="2142533206"/>
            <ac:graphicFrameMk id="10" creationId="{6C4E63AD-3E37-4633-426E-B1EEF340DAAB}"/>
          </ac:graphicFrameMkLst>
        </pc:graphicFrameChg>
        <pc:graphicFrameChg chg="mod">
          <ac:chgData name="Melaerts Frédéric" userId="e63e2408-a9ae-43c8-8f5f-37811e9e956a" providerId="ADAL" clId="{7B18185B-35CE-44C0-911D-6C70AFCC39ED}" dt="2024-07-08T20:06:21.256" v="1380" actId="2711"/>
          <ac:graphicFrameMkLst>
            <pc:docMk/>
            <pc:sldMk cId="127179412" sldId="2142533206"/>
            <ac:graphicFrameMk id="11" creationId="{11EF47BB-B737-746B-BB9E-A4133978AAD6}"/>
          </ac:graphicFrameMkLst>
        </pc:graphicFrameChg>
        <pc:picChg chg="mod">
          <ac:chgData name="Melaerts Frédéric" userId="e63e2408-a9ae-43c8-8f5f-37811e9e956a" providerId="ADAL" clId="{7B18185B-35CE-44C0-911D-6C70AFCC39ED}" dt="2024-07-08T20:06:21.256" v="1380" actId="2711"/>
          <ac:picMkLst>
            <pc:docMk/>
            <pc:sldMk cId="127179412" sldId="2142533206"/>
            <ac:picMk id="17" creationId="{2EAA7D8B-4EC8-75E9-61E4-260533C696CB}"/>
          </ac:picMkLst>
        </pc:picChg>
      </pc:sldChg>
      <pc:sldChg chg="modSp mod modNotesTx">
        <pc:chgData name="Melaerts Frédéric" userId="e63e2408-a9ae-43c8-8f5f-37811e9e956a" providerId="ADAL" clId="{7B18185B-35CE-44C0-911D-6C70AFCC39ED}" dt="2024-07-08T16:35:33.937" v="618" actId="20577"/>
        <pc:sldMkLst>
          <pc:docMk/>
          <pc:sldMk cId="1959355033" sldId="2142533207"/>
        </pc:sldMkLst>
        <pc:spChg chg="mod">
          <ac:chgData name="Melaerts Frédéric" userId="e63e2408-a9ae-43c8-8f5f-37811e9e956a" providerId="ADAL" clId="{7B18185B-35CE-44C0-911D-6C70AFCC39ED}" dt="2024-07-08T10:08:33.038" v="133" actId="2711"/>
          <ac:spMkLst>
            <pc:docMk/>
            <pc:sldMk cId="1959355033" sldId="2142533207"/>
            <ac:spMk id="16" creationId="{E1EE5A5D-051E-0D61-5415-6A2CE066BC7A}"/>
          </ac:spMkLst>
        </pc:spChg>
        <pc:spChg chg="mod">
          <ac:chgData name="Melaerts Frédéric" userId="e63e2408-a9ae-43c8-8f5f-37811e9e956a" providerId="ADAL" clId="{7B18185B-35CE-44C0-911D-6C70AFCC39ED}" dt="2024-07-08T10:08:33.038" v="133" actId="2711"/>
          <ac:spMkLst>
            <pc:docMk/>
            <pc:sldMk cId="1959355033" sldId="2142533207"/>
            <ac:spMk id="17" creationId="{E906907C-41B2-3399-5D0A-E9AB86EDE892}"/>
          </ac:spMkLst>
        </pc:spChg>
        <pc:spChg chg="mod">
          <ac:chgData name="Melaerts Frédéric" userId="e63e2408-a9ae-43c8-8f5f-37811e9e956a" providerId="ADAL" clId="{7B18185B-35CE-44C0-911D-6C70AFCC39ED}" dt="2024-07-08T10:08:33.038" v="133" actId="2711"/>
          <ac:spMkLst>
            <pc:docMk/>
            <pc:sldMk cId="1959355033" sldId="2142533207"/>
            <ac:spMk id="18" creationId="{F38C7B52-76C8-31D2-EAA5-A8D56324A930}"/>
          </ac:spMkLst>
        </pc:spChg>
        <pc:spChg chg="mod">
          <ac:chgData name="Melaerts Frédéric" userId="e63e2408-a9ae-43c8-8f5f-37811e9e956a" providerId="ADAL" clId="{7B18185B-35CE-44C0-911D-6C70AFCC39ED}" dt="2024-07-08T10:09:06.113" v="163" actId="14100"/>
          <ac:spMkLst>
            <pc:docMk/>
            <pc:sldMk cId="1959355033" sldId="2142533207"/>
            <ac:spMk id="19" creationId="{B671D000-4B0B-D05D-4845-93EEA6BC54BE}"/>
          </ac:spMkLst>
        </pc:spChg>
        <pc:spChg chg="mod">
          <ac:chgData name="Melaerts Frédéric" userId="e63e2408-a9ae-43c8-8f5f-37811e9e956a" providerId="ADAL" clId="{7B18185B-35CE-44C0-911D-6C70AFCC39ED}" dt="2024-07-08T10:08:33.038" v="133" actId="2711"/>
          <ac:spMkLst>
            <pc:docMk/>
            <pc:sldMk cId="1959355033" sldId="2142533207"/>
            <ac:spMk id="20" creationId="{7B060B9E-F968-89D1-77A9-35AFE4A41033}"/>
          </ac:spMkLst>
        </pc:spChg>
        <pc:spChg chg="mod">
          <ac:chgData name="Melaerts Frédéric" userId="e63e2408-a9ae-43c8-8f5f-37811e9e956a" providerId="ADAL" clId="{7B18185B-35CE-44C0-911D-6C70AFCC39ED}" dt="2024-07-08T10:08:33.038" v="133" actId="2711"/>
          <ac:spMkLst>
            <pc:docMk/>
            <pc:sldMk cId="1959355033" sldId="2142533207"/>
            <ac:spMk id="22" creationId="{D07E41BC-DC8D-EA9B-B06D-B361054D6A52}"/>
          </ac:spMkLst>
        </pc:spChg>
        <pc:spChg chg="mod">
          <ac:chgData name="Melaerts Frédéric" userId="e63e2408-a9ae-43c8-8f5f-37811e9e956a" providerId="ADAL" clId="{7B18185B-35CE-44C0-911D-6C70AFCC39ED}" dt="2024-07-08T10:09:03.886" v="162" actId="1076"/>
          <ac:spMkLst>
            <pc:docMk/>
            <pc:sldMk cId="1959355033" sldId="2142533207"/>
            <ac:spMk id="23" creationId="{B1AF2C46-88F9-7BED-8DC8-BB78F1EDCA94}"/>
          </ac:spMkLst>
        </pc:spChg>
        <pc:spChg chg="mod">
          <ac:chgData name="Melaerts Frédéric" userId="e63e2408-a9ae-43c8-8f5f-37811e9e956a" providerId="ADAL" clId="{7B18185B-35CE-44C0-911D-6C70AFCC39ED}" dt="2024-07-08T09:58:10.305" v="25" actId="207"/>
          <ac:spMkLst>
            <pc:docMk/>
            <pc:sldMk cId="1959355033" sldId="2142533207"/>
            <ac:spMk id="25" creationId="{417733A8-3F84-F7FC-C100-0A6E76DCC2DE}"/>
          </ac:spMkLst>
        </pc:spChg>
        <pc:spChg chg="mod">
          <ac:chgData name="Melaerts Frédéric" userId="e63e2408-a9ae-43c8-8f5f-37811e9e956a" providerId="ADAL" clId="{7B18185B-35CE-44C0-911D-6C70AFCC39ED}" dt="2024-07-08T10:08:33.038" v="133" actId="2711"/>
          <ac:spMkLst>
            <pc:docMk/>
            <pc:sldMk cId="1959355033" sldId="2142533207"/>
            <ac:spMk id="30" creationId="{F2B20393-EC8C-41AC-E217-34B197B7E7E9}"/>
          </ac:spMkLst>
        </pc:spChg>
        <pc:grpChg chg="mod">
          <ac:chgData name="Melaerts Frédéric" userId="e63e2408-a9ae-43c8-8f5f-37811e9e956a" providerId="ADAL" clId="{7B18185B-35CE-44C0-911D-6C70AFCC39ED}" dt="2024-07-08T10:08:33.038" v="133" actId="2711"/>
          <ac:grpSpMkLst>
            <pc:docMk/>
            <pc:sldMk cId="1959355033" sldId="2142533207"/>
            <ac:grpSpMk id="4" creationId="{6E5C1ACF-04CD-27EE-10CD-ED6295D2700C}"/>
          </ac:grpSpMkLst>
        </pc:grpChg>
        <pc:grpChg chg="mod">
          <ac:chgData name="Melaerts Frédéric" userId="e63e2408-a9ae-43c8-8f5f-37811e9e956a" providerId="ADAL" clId="{7B18185B-35CE-44C0-911D-6C70AFCC39ED}" dt="2024-07-08T10:08:33.038" v="133" actId="2711"/>
          <ac:grpSpMkLst>
            <pc:docMk/>
            <pc:sldMk cId="1959355033" sldId="2142533207"/>
            <ac:grpSpMk id="7" creationId="{88EA3816-74C0-9D7A-911E-FB1CCD078F31}"/>
          </ac:grpSpMkLst>
        </pc:grpChg>
        <pc:grpChg chg="mod">
          <ac:chgData name="Melaerts Frédéric" userId="e63e2408-a9ae-43c8-8f5f-37811e9e956a" providerId="ADAL" clId="{7B18185B-35CE-44C0-911D-6C70AFCC39ED}" dt="2024-07-08T10:08:33.038" v="133" actId="2711"/>
          <ac:grpSpMkLst>
            <pc:docMk/>
            <pc:sldMk cId="1959355033" sldId="2142533207"/>
            <ac:grpSpMk id="10" creationId="{8D51E8A7-2689-C4CE-701F-4F2478BAE4AD}"/>
          </ac:grpSpMkLst>
        </pc:grpChg>
        <pc:grpChg chg="mod">
          <ac:chgData name="Melaerts Frédéric" userId="e63e2408-a9ae-43c8-8f5f-37811e9e956a" providerId="ADAL" clId="{7B18185B-35CE-44C0-911D-6C70AFCC39ED}" dt="2024-07-08T10:08:33.038" v="133" actId="2711"/>
          <ac:grpSpMkLst>
            <pc:docMk/>
            <pc:sldMk cId="1959355033" sldId="2142533207"/>
            <ac:grpSpMk id="13" creationId="{EE3FD1B4-842C-3AE3-E415-66CD062C5FDD}"/>
          </ac:grpSpMkLst>
        </pc:grpChg>
        <pc:grpChg chg="mod">
          <ac:chgData name="Melaerts Frédéric" userId="e63e2408-a9ae-43c8-8f5f-37811e9e956a" providerId="ADAL" clId="{7B18185B-35CE-44C0-911D-6C70AFCC39ED}" dt="2024-07-08T10:08:33.038" v="133" actId="2711"/>
          <ac:grpSpMkLst>
            <pc:docMk/>
            <pc:sldMk cId="1959355033" sldId="2142533207"/>
            <ac:grpSpMk id="24" creationId="{EA10557A-1A6E-C4C5-6E12-3AB001BAF30D}"/>
          </ac:grpSpMkLst>
        </pc:grpChg>
        <pc:picChg chg="mod">
          <ac:chgData name="Melaerts Frédéric" userId="e63e2408-a9ae-43c8-8f5f-37811e9e956a" providerId="ADAL" clId="{7B18185B-35CE-44C0-911D-6C70AFCC39ED}" dt="2024-07-08T10:08:33.038" v="133" actId="2711"/>
          <ac:picMkLst>
            <pc:docMk/>
            <pc:sldMk cId="1959355033" sldId="2142533207"/>
            <ac:picMk id="34" creationId="{D14A795E-8253-6112-47DA-F8766F1DFB3B}"/>
          </ac:picMkLst>
        </pc:picChg>
      </pc:sldChg>
    </pc:docChg>
  </pc:docChgLst>
  <pc:docChgLst>
    <pc:chgData name="Melaerts Frédéric" userId="S::frederic.melaerts@ond.vlaanderen.be::e63e2408-a9ae-43c8-8f5f-37811e9e956a" providerId="AD" clId="Web-{0DA8FAD9-B459-26D4-9D53-9CB03EDF714A}"/>
    <pc:docChg chg="modSld">
      <pc:chgData name="Melaerts Frédéric" userId="S::frederic.melaerts@ond.vlaanderen.be::e63e2408-a9ae-43c8-8f5f-37811e9e956a" providerId="AD" clId="Web-{0DA8FAD9-B459-26D4-9D53-9CB03EDF714A}" dt="2024-07-08T20:12:23.194" v="55"/>
      <pc:docMkLst>
        <pc:docMk/>
      </pc:docMkLst>
      <pc:sldChg chg="modSp">
        <pc:chgData name="Melaerts Frédéric" userId="S::frederic.melaerts@ond.vlaanderen.be::e63e2408-a9ae-43c8-8f5f-37811e9e956a" providerId="AD" clId="Web-{0DA8FAD9-B459-26D4-9D53-9CB03EDF714A}" dt="2024-07-08T20:11:51.317" v="37" actId="20577"/>
        <pc:sldMkLst>
          <pc:docMk/>
          <pc:sldMk cId="2973898293" sldId="2142533201"/>
        </pc:sldMkLst>
        <pc:spChg chg="mod">
          <ac:chgData name="Melaerts Frédéric" userId="S::frederic.melaerts@ond.vlaanderen.be::e63e2408-a9ae-43c8-8f5f-37811e9e956a" providerId="AD" clId="Web-{0DA8FAD9-B459-26D4-9D53-9CB03EDF714A}" dt="2024-07-08T20:11:51.317" v="37" actId="20577"/>
          <ac:spMkLst>
            <pc:docMk/>
            <pc:sldMk cId="2973898293" sldId="2142533201"/>
            <ac:spMk id="2" creationId="{31DF3992-5074-E64C-471D-DBB1D373BAF6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41.630" v="21"/>
          <ac:spMkLst>
            <pc:docMk/>
            <pc:sldMk cId="2973898293" sldId="2142533201"/>
            <ac:spMk id="12" creationId="{11660F7A-F13D-4FD8-1104-18E87C110859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41.645" v="35"/>
          <ac:spMkLst>
            <pc:docMk/>
            <pc:sldMk cId="2973898293" sldId="2142533201"/>
            <ac:spMk id="14" creationId="{DF64F5D5-5608-9808-87A6-F6C4A20110C1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41.630" v="19"/>
          <ac:spMkLst>
            <pc:docMk/>
            <pc:sldMk cId="2973898293" sldId="2142533201"/>
            <ac:spMk id="19" creationId="{5DB1F33F-25BD-675A-271D-CB95AA355AB9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41.630" v="22"/>
          <ac:spMkLst>
            <pc:docMk/>
            <pc:sldMk cId="2973898293" sldId="2142533201"/>
            <ac:spMk id="25" creationId="{C715EE4F-F7EC-4195-0824-ED3354BE2438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41.630" v="23"/>
          <ac:spMkLst>
            <pc:docMk/>
            <pc:sldMk cId="2973898293" sldId="2142533201"/>
            <ac:spMk id="41" creationId="{E1BCFE6D-2418-868A-3A30-453336805E5F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41.645" v="24"/>
          <ac:spMkLst>
            <pc:docMk/>
            <pc:sldMk cId="2973898293" sldId="2142533201"/>
            <ac:spMk id="42" creationId="{2F653240-088E-9724-4A16-85ADA7CA09BA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41.645" v="25"/>
          <ac:spMkLst>
            <pc:docMk/>
            <pc:sldMk cId="2973898293" sldId="2142533201"/>
            <ac:spMk id="56" creationId="{9D69B920-1AC3-4804-99C1-85444397D710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41.645" v="26"/>
          <ac:spMkLst>
            <pc:docMk/>
            <pc:sldMk cId="2973898293" sldId="2142533201"/>
            <ac:spMk id="57" creationId="{E1739311-C059-24FD-EDD7-A9746C7424FD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41.645" v="27"/>
          <ac:spMkLst>
            <pc:docMk/>
            <pc:sldMk cId="2973898293" sldId="2142533201"/>
            <ac:spMk id="60" creationId="{18C10EA6-04C7-1279-15E8-D321C47E2303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41.645" v="28"/>
          <ac:spMkLst>
            <pc:docMk/>
            <pc:sldMk cId="2973898293" sldId="2142533201"/>
            <ac:spMk id="61" creationId="{990CF12A-3D8F-D559-E3AC-C109C7839A0B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41.645" v="29"/>
          <ac:spMkLst>
            <pc:docMk/>
            <pc:sldMk cId="2973898293" sldId="2142533201"/>
            <ac:spMk id="2051" creationId="{F46D07F9-7234-E04E-6763-EE06A47A39B3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41.645" v="30"/>
          <ac:spMkLst>
            <pc:docMk/>
            <pc:sldMk cId="2973898293" sldId="2142533201"/>
            <ac:spMk id="2053" creationId="{72131A89-10DB-F031-19C0-0F03910650E1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41.645" v="31"/>
          <ac:spMkLst>
            <pc:docMk/>
            <pc:sldMk cId="2973898293" sldId="2142533201"/>
            <ac:spMk id="2054" creationId="{630B5125-44F6-CE1E-A50D-1775B8299CF8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41.630" v="18"/>
          <ac:spMkLst>
            <pc:docMk/>
            <pc:sldMk cId="2973898293" sldId="2142533201"/>
            <ac:spMk id="2056" creationId="{B00855FA-842E-F7ED-2165-FE53EA0D459A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41.645" v="32"/>
          <ac:spMkLst>
            <pc:docMk/>
            <pc:sldMk cId="2973898293" sldId="2142533201"/>
            <ac:spMk id="2058" creationId="{ED1FD80F-4508-52AF-5F54-970520B7A7A4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41.645" v="33"/>
          <ac:spMkLst>
            <pc:docMk/>
            <pc:sldMk cId="2973898293" sldId="2142533201"/>
            <ac:spMk id="2059" creationId="{C7926C6A-5C20-A5DE-A692-4947824DD6B0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41.645" v="34"/>
          <ac:spMkLst>
            <pc:docMk/>
            <pc:sldMk cId="2973898293" sldId="2142533201"/>
            <ac:spMk id="2060" creationId="{43DAD583-A709-5A49-A65E-4E8328EB16BF}"/>
          </ac:spMkLst>
        </pc:spChg>
      </pc:sldChg>
      <pc:sldChg chg="modSp">
        <pc:chgData name="Melaerts Frédéric" userId="S::frederic.melaerts@ond.vlaanderen.be::e63e2408-a9ae-43c8-8f5f-37811e9e956a" providerId="AD" clId="Web-{0DA8FAD9-B459-26D4-9D53-9CB03EDF714A}" dt="2024-07-08T20:11:34.020" v="17"/>
        <pc:sldMkLst>
          <pc:docMk/>
          <pc:sldMk cId="2705280032" sldId="2142533202"/>
        </pc:sldMkLst>
        <pc:spChg chg="mod">
          <ac:chgData name="Melaerts Frédéric" userId="S::frederic.melaerts@ond.vlaanderen.be::e63e2408-a9ae-43c8-8f5f-37811e9e956a" providerId="AD" clId="Web-{0DA8FAD9-B459-26D4-9D53-9CB03EDF714A}" dt="2024-07-08T20:11:27.754" v="12" actId="20577"/>
          <ac:spMkLst>
            <pc:docMk/>
            <pc:sldMk cId="2705280032" sldId="2142533202"/>
            <ac:spMk id="5" creationId="{362BE8C6-6B2D-2147-49D2-4C04F4CCE3F7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33.973" v="13"/>
          <ac:spMkLst>
            <pc:docMk/>
            <pc:sldMk cId="2705280032" sldId="2142533202"/>
            <ac:spMk id="10" creationId="{79D0E359-26D6-0276-9C88-675CD44F550B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20.863" v="0"/>
          <ac:spMkLst>
            <pc:docMk/>
            <pc:sldMk cId="2705280032" sldId="2142533202"/>
            <ac:spMk id="12" creationId="{11660F7A-F13D-4FD8-1104-18E87C110859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33.989" v="15"/>
          <ac:spMkLst>
            <pc:docMk/>
            <pc:sldMk cId="2705280032" sldId="2142533202"/>
            <ac:spMk id="15" creationId="{89283878-726F-537D-2F70-DE806C384B9D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20.879" v="7"/>
          <ac:spMkLst>
            <pc:docMk/>
            <pc:sldMk cId="2705280032" sldId="2142533202"/>
            <ac:spMk id="26" creationId="{F48F1964-271D-C6E8-CC5B-0909DDB4BCFE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20.863" v="1"/>
          <ac:spMkLst>
            <pc:docMk/>
            <pc:sldMk cId="2705280032" sldId="2142533202"/>
            <ac:spMk id="29" creationId="{4B5CDE7B-29DA-6B66-6195-57F51E06825F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33.989" v="16"/>
          <ac:spMkLst>
            <pc:docMk/>
            <pc:sldMk cId="2705280032" sldId="2142533202"/>
            <ac:spMk id="2049" creationId="{83057EF5-CC84-426D-4A84-35375844FFB9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34.020" v="17"/>
          <ac:spMkLst>
            <pc:docMk/>
            <pc:sldMk cId="2705280032" sldId="2142533202"/>
            <ac:spMk id="2053" creationId="{7D25EA51-87C7-83CF-3490-C43BAF6BCAD9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20.879" v="9"/>
          <ac:spMkLst>
            <pc:docMk/>
            <pc:sldMk cId="2705280032" sldId="2142533202"/>
            <ac:spMk id="2054" creationId="{E7FE514C-0A56-081B-CC08-CD1D0CCBBB9D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20.879" v="10"/>
          <ac:spMkLst>
            <pc:docMk/>
            <pc:sldMk cId="2705280032" sldId="2142533202"/>
            <ac:spMk id="2056" creationId="{E12F95CE-A087-0308-6A0D-2B0310677A97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33.973" v="14"/>
          <ac:spMkLst>
            <pc:docMk/>
            <pc:sldMk cId="2705280032" sldId="2142533202"/>
            <ac:spMk id="2057" creationId="{D48DF8EC-8737-34C0-724D-82706FF43F71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1:20.879" v="11"/>
          <ac:spMkLst>
            <pc:docMk/>
            <pc:sldMk cId="2705280032" sldId="2142533202"/>
            <ac:spMk id="2058" creationId="{5FFFF6DC-F3D1-5297-4378-19B3CCFF300D}"/>
          </ac:spMkLst>
        </pc:spChg>
      </pc:sldChg>
      <pc:sldChg chg="modSp">
        <pc:chgData name="Melaerts Frédéric" userId="S::frederic.melaerts@ond.vlaanderen.be::e63e2408-a9ae-43c8-8f5f-37811e9e956a" providerId="AD" clId="Web-{0DA8FAD9-B459-26D4-9D53-9CB03EDF714A}" dt="2024-07-08T20:12:23.194" v="55"/>
        <pc:sldMkLst>
          <pc:docMk/>
          <pc:sldMk cId="1959355033" sldId="2142533207"/>
        </pc:sldMkLst>
        <pc:spChg chg="mod">
          <ac:chgData name="Melaerts Frédéric" userId="S::frederic.melaerts@ond.vlaanderen.be::e63e2408-a9ae-43c8-8f5f-37811e9e956a" providerId="AD" clId="Web-{0DA8FAD9-B459-26D4-9D53-9CB03EDF714A}" dt="2024-07-08T20:12:23.178" v="40"/>
          <ac:spMkLst>
            <pc:docMk/>
            <pc:sldMk cId="1959355033" sldId="2142533207"/>
            <ac:spMk id="5" creationId="{4C841855-1061-4D2B-1AE4-6CC9C47DB710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2:23.178" v="41"/>
          <ac:spMkLst>
            <pc:docMk/>
            <pc:sldMk cId="1959355033" sldId="2142533207"/>
            <ac:spMk id="6" creationId="{CECC5C03-48CC-612F-9B34-4DA5EF571792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2:23.178" v="42"/>
          <ac:spMkLst>
            <pc:docMk/>
            <pc:sldMk cId="1959355033" sldId="2142533207"/>
            <ac:spMk id="8" creationId="{2BA7867C-8473-8B03-27B5-D87167561A6B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2:23.178" v="43"/>
          <ac:spMkLst>
            <pc:docMk/>
            <pc:sldMk cId="1959355033" sldId="2142533207"/>
            <ac:spMk id="9" creationId="{CA3EBFC5-CF60-2DB6-E213-2EF6D818E04D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2:23.194" v="44"/>
          <ac:spMkLst>
            <pc:docMk/>
            <pc:sldMk cId="1959355033" sldId="2142533207"/>
            <ac:spMk id="11" creationId="{0B293D90-AA82-F96C-64AC-890AAE8183B8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2:23.194" v="45"/>
          <ac:spMkLst>
            <pc:docMk/>
            <pc:sldMk cId="1959355033" sldId="2142533207"/>
            <ac:spMk id="12" creationId="{E1CE34B4-07E3-5EB8-7AD9-BDDDC6B8C672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2:23.194" v="46"/>
          <ac:spMkLst>
            <pc:docMk/>
            <pc:sldMk cId="1959355033" sldId="2142533207"/>
            <ac:spMk id="14" creationId="{D810BD3A-EF22-B288-4C57-B568F6D2EE18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2:23.194" v="47"/>
          <ac:spMkLst>
            <pc:docMk/>
            <pc:sldMk cId="1959355033" sldId="2142533207"/>
            <ac:spMk id="15" creationId="{06836943-E5AA-E0AB-E540-5517DCC2F920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2:23.194" v="48"/>
          <ac:spMkLst>
            <pc:docMk/>
            <pc:sldMk cId="1959355033" sldId="2142533207"/>
            <ac:spMk id="16" creationId="{E1EE5A5D-051E-0D61-5415-6A2CE066BC7A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2:23.194" v="49"/>
          <ac:spMkLst>
            <pc:docMk/>
            <pc:sldMk cId="1959355033" sldId="2142533207"/>
            <ac:spMk id="17" creationId="{E906907C-41B2-3399-5D0A-E9AB86EDE892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2:23.194" v="50"/>
          <ac:spMkLst>
            <pc:docMk/>
            <pc:sldMk cId="1959355033" sldId="2142533207"/>
            <ac:spMk id="18" creationId="{F38C7B52-76C8-31D2-EAA5-A8D56324A930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2:23.194" v="51"/>
          <ac:spMkLst>
            <pc:docMk/>
            <pc:sldMk cId="1959355033" sldId="2142533207"/>
            <ac:spMk id="19" creationId="{B671D000-4B0B-D05D-4845-93EEA6BC54BE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2:23.194" v="52"/>
          <ac:spMkLst>
            <pc:docMk/>
            <pc:sldMk cId="1959355033" sldId="2142533207"/>
            <ac:spMk id="20" creationId="{7B060B9E-F968-89D1-77A9-35AFE4A41033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2:23.194" v="53"/>
          <ac:spMkLst>
            <pc:docMk/>
            <pc:sldMk cId="1959355033" sldId="2142533207"/>
            <ac:spMk id="22" creationId="{D07E41BC-DC8D-EA9B-B06D-B361054D6A52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2:23.178" v="38"/>
          <ac:spMkLst>
            <pc:docMk/>
            <pc:sldMk cId="1959355033" sldId="2142533207"/>
            <ac:spMk id="23" creationId="{B1AF2C46-88F9-7BED-8DC8-BB78F1EDCA94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2:23.194" v="54"/>
          <ac:spMkLst>
            <pc:docMk/>
            <pc:sldMk cId="1959355033" sldId="2142533207"/>
            <ac:spMk id="25" creationId="{417733A8-3F84-F7FC-C100-0A6E76DCC2DE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2:23.194" v="55"/>
          <ac:spMkLst>
            <pc:docMk/>
            <pc:sldMk cId="1959355033" sldId="2142533207"/>
            <ac:spMk id="26" creationId="{3409AB07-F5EA-33EC-38F3-CF2E438A7796}"/>
          </ac:spMkLst>
        </pc:spChg>
        <pc:spChg chg="mod">
          <ac:chgData name="Melaerts Frédéric" userId="S::frederic.melaerts@ond.vlaanderen.be::e63e2408-a9ae-43c8-8f5f-37811e9e956a" providerId="AD" clId="Web-{0DA8FAD9-B459-26D4-9D53-9CB03EDF714A}" dt="2024-07-08T20:12:23.178" v="39"/>
          <ac:spMkLst>
            <pc:docMk/>
            <pc:sldMk cId="1959355033" sldId="2142533207"/>
            <ac:spMk id="30" creationId="{F2B20393-EC8C-41AC-E217-34B197B7E7E9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vlaamseoverheid-my.sharepoint.com/personal/frederic_melaerts_ond_vlaanderen_be/Documents/Documenten/Persona/SchoolsoftwareAPI/Infosessies/20240709/Cijfers_Persona_SWL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vlaamseoverheid-my.sharepoint.com/personal/frederic_melaerts_ond_vlaanderen_be/Documents/Documenten/Persona/SchoolsoftwareAPI/Infosessies/20240709/Cijfers_Persona_SWL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848483916647312E-2"/>
          <c:y val="4.900959771288544E-2"/>
          <c:w val="0.87030303216670535"/>
          <c:h val="0.91014907085970997"/>
        </c:manualLayout>
      </c:layout>
      <c:doughnutChart>
        <c:varyColors val="1"/>
        <c:ser>
          <c:idx val="0"/>
          <c:order val="0"/>
          <c:tx>
            <c:strRef>
              <c:f>'SWL inkomende berichten'!$O$32</c:f>
              <c:strCache>
                <c:ptCount val="1"/>
                <c:pt idx="0">
                  <c:v>count</c:v>
                </c:pt>
              </c:strCache>
            </c:strRef>
          </c:tx>
          <c:spPr>
            <a:solidFill>
              <a:srgbClr val="D26E25"/>
            </a:solidFill>
          </c:spPr>
          <c:explosion val="5"/>
          <c:dPt>
            <c:idx val="0"/>
            <c:bubble3D val="0"/>
            <c:spPr>
              <a:solidFill>
                <a:srgbClr val="D26E2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2DF-4F74-8ED1-D3A676F58B03}"/>
              </c:ext>
            </c:extLst>
          </c:dPt>
          <c:dPt>
            <c:idx val="1"/>
            <c:bubble3D val="0"/>
            <c:spPr>
              <a:solidFill>
                <a:srgbClr val="D26E2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2DF-4F74-8ED1-D3A676F58B03}"/>
              </c:ext>
            </c:extLst>
          </c:dPt>
          <c:dPt>
            <c:idx val="2"/>
            <c:bubble3D val="0"/>
            <c:spPr>
              <a:solidFill>
                <a:srgbClr val="D26E2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2DF-4F74-8ED1-D3A676F58B03}"/>
              </c:ext>
            </c:extLst>
          </c:dPt>
          <c:dPt>
            <c:idx val="3"/>
            <c:bubble3D val="0"/>
            <c:spPr>
              <a:solidFill>
                <a:srgbClr val="D26E2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2DF-4F74-8ED1-D3A676F58B03}"/>
              </c:ext>
            </c:extLst>
          </c:dPt>
          <c:dPt>
            <c:idx val="4"/>
            <c:bubble3D val="0"/>
            <c:spPr>
              <a:solidFill>
                <a:srgbClr val="D26E2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2DF-4F74-8ED1-D3A676F58B03}"/>
              </c:ext>
            </c:extLst>
          </c:dPt>
          <c:dPt>
            <c:idx val="5"/>
            <c:bubble3D val="0"/>
            <c:spPr>
              <a:solidFill>
                <a:srgbClr val="D26E2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C2DF-4F74-8ED1-D3A676F58B03}"/>
              </c:ext>
            </c:extLst>
          </c:dPt>
          <c:dPt>
            <c:idx val="6"/>
            <c:bubble3D val="0"/>
            <c:spPr>
              <a:solidFill>
                <a:srgbClr val="D26E2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C2DF-4F74-8ED1-D3A676F58B03}"/>
              </c:ext>
            </c:extLst>
          </c:dPt>
          <c:cat>
            <c:strRef>
              <c:f>'SWL inkomende berichten'!$N$33:$N$39</c:f>
              <c:strCache>
                <c:ptCount val="7"/>
                <c:pt idx="0">
                  <c:v>WIJZIG_FISCALETOESTAND</c:v>
                </c:pt>
                <c:pt idx="1">
                  <c:v>TOEVOEGEN_PERSONEELSLID</c:v>
                </c:pt>
                <c:pt idx="2">
                  <c:v>WIJZIG_BETALINGSGEGEVENS</c:v>
                </c:pt>
                <c:pt idx="3">
                  <c:v>WIJZIG_NIET_AUTHENTIEKE_PERSOONSGEGEVENS</c:v>
                </c:pt>
                <c:pt idx="4">
                  <c:v>VERBLIJFPLAATS_STOPZETTEN</c:v>
                </c:pt>
                <c:pt idx="5">
                  <c:v>WIJZIG_VERBLIJFPLAATS</c:v>
                </c:pt>
                <c:pt idx="6">
                  <c:v>INSTELLING_MELD_OVERLIJDEN</c:v>
                </c:pt>
              </c:strCache>
            </c:strRef>
          </c:cat>
          <c:val>
            <c:numRef>
              <c:f>'SWL inkomende berichten'!$O$33:$O$39</c:f>
              <c:numCache>
                <c:formatCode>General</c:formatCode>
                <c:ptCount val="7"/>
                <c:pt idx="0">
                  <c:v>5481</c:v>
                </c:pt>
                <c:pt idx="1">
                  <c:v>3190</c:v>
                </c:pt>
                <c:pt idx="2">
                  <c:v>2881</c:v>
                </c:pt>
                <c:pt idx="3">
                  <c:v>1805</c:v>
                </c:pt>
                <c:pt idx="4">
                  <c:v>465</c:v>
                </c:pt>
                <c:pt idx="5">
                  <c:v>310</c:v>
                </c:pt>
                <c:pt idx="6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C2DF-4F74-8ED1-D3A676F58B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l-NL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848483916647312E-2"/>
          <c:y val="4.900959771288544E-2"/>
          <c:w val="0.87030303216670535"/>
          <c:h val="0.91014907085970997"/>
        </c:manualLayout>
      </c:layout>
      <c:doughnutChart>
        <c:varyColors val="1"/>
        <c:ser>
          <c:idx val="0"/>
          <c:order val="0"/>
          <c:tx>
            <c:strRef>
              <c:f>'SWL inkomende berichten'!$O$32</c:f>
              <c:strCache>
                <c:ptCount val="1"/>
                <c:pt idx="0">
                  <c:v>count</c:v>
                </c:pt>
              </c:strCache>
            </c:strRef>
          </c:tx>
          <c:spPr>
            <a:solidFill>
              <a:srgbClr val="D26E25"/>
            </a:solidFill>
          </c:spPr>
          <c:explosion val="5"/>
          <c:dPt>
            <c:idx val="0"/>
            <c:bubble3D val="0"/>
            <c:spPr>
              <a:solidFill>
                <a:srgbClr val="D26E2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169-4B14-9C2B-03EA540F26E7}"/>
              </c:ext>
            </c:extLst>
          </c:dPt>
          <c:dPt>
            <c:idx val="1"/>
            <c:bubble3D val="0"/>
            <c:spPr>
              <a:solidFill>
                <a:srgbClr val="D26E2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169-4B14-9C2B-03EA540F26E7}"/>
              </c:ext>
            </c:extLst>
          </c:dPt>
          <c:dPt>
            <c:idx val="2"/>
            <c:bubble3D val="0"/>
            <c:spPr>
              <a:solidFill>
                <a:srgbClr val="D26E2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169-4B14-9C2B-03EA540F26E7}"/>
              </c:ext>
            </c:extLst>
          </c:dPt>
          <c:dPt>
            <c:idx val="3"/>
            <c:bubble3D val="0"/>
            <c:spPr>
              <a:solidFill>
                <a:srgbClr val="D26E2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169-4B14-9C2B-03EA540F26E7}"/>
              </c:ext>
            </c:extLst>
          </c:dPt>
          <c:dPt>
            <c:idx val="4"/>
            <c:bubble3D val="0"/>
            <c:spPr>
              <a:solidFill>
                <a:srgbClr val="D26E2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169-4B14-9C2B-03EA540F26E7}"/>
              </c:ext>
            </c:extLst>
          </c:dPt>
          <c:dPt>
            <c:idx val="5"/>
            <c:bubble3D val="0"/>
            <c:spPr>
              <a:solidFill>
                <a:srgbClr val="D26E2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169-4B14-9C2B-03EA540F26E7}"/>
              </c:ext>
            </c:extLst>
          </c:dPt>
          <c:dPt>
            <c:idx val="6"/>
            <c:bubble3D val="0"/>
            <c:spPr>
              <a:solidFill>
                <a:srgbClr val="D26E2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2169-4B14-9C2B-03EA540F26E7}"/>
              </c:ext>
            </c:extLst>
          </c:dPt>
          <c:cat>
            <c:strRef>
              <c:f>'SWL inkomende berichten'!$N$33:$N$39</c:f>
              <c:strCache>
                <c:ptCount val="7"/>
                <c:pt idx="0">
                  <c:v>WIJZIG_FISCALETOESTAND</c:v>
                </c:pt>
                <c:pt idx="1">
                  <c:v>TOEVOEGEN_PERSONEELSLID</c:v>
                </c:pt>
                <c:pt idx="2">
                  <c:v>WIJZIG_BETALINGSGEGEVENS</c:v>
                </c:pt>
                <c:pt idx="3">
                  <c:v>WIJZIG_NIET_AUTHENTIEKE_PERSOONSGEGEVENS</c:v>
                </c:pt>
                <c:pt idx="4">
                  <c:v>VERBLIJFPLAATS_STOPZETTEN</c:v>
                </c:pt>
                <c:pt idx="5">
                  <c:v>WIJZIG_VERBLIJFPLAATS</c:v>
                </c:pt>
                <c:pt idx="6">
                  <c:v>INSTELLING_MELD_OVERLIJDEN</c:v>
                </c:pt>
              </c:strCache>
            </c:strRef>
          </c:cat>
          <c:val>
            <c:numRef>
              <c:f>'SWL inkomende berichten'!$O$33:$O$39</c:f>
              <c:numCache>
                <c:formatCode>General</c:formatCode>
                <c:ptCount val="7"/>
                <c:pt idx="0">
                  <c:v>5481</c:v>
                </c:pt>
                <c:pt idx="1">
                  <c:v>3190</c:v>
                </c:pt>
                <c:pt idx="2">
                  <c:v>2881</c:v>
                </c:pt>
                <c:pt idx="3">
                  <c:v>1805</c:v>
                </c:pt>
                <c:pt idx="4">
                  <c:v>465</c:v>
                </c:pt>
                <c:pt idx="5">
                  <c:v>310</c:v>
                </c:pt>
                <c:pt idx="6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2169-4B14-9C2B-03EA540F26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l-N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937DD8-B20A-47A6-AA94-FD478FAA3C28}" type="datetimeFigureOut">
              <a:rPr lang="nl-BE" smtClean="0"/>
              <a:pPr/>
              <a:t>8/07/2024</a:t>
            </a:fld>
            <a:endParaRPr lang="nl-BE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5A0D9C-0CD0-4097-81EC-9B83965EC080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2767839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5A0D9C-0CD0-4097-81EC-9B83965EC080}" type="slidenum">
              <a:rPr lang="nl-BE" smtClean="0"/>
              <a:pPr/>
              <a:t>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809581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5A0D9C-0CD0-4097-81EC-9B83965EC080}" type="slidenum">
              <a:rPr lang="nl-BE" smtClean="0"/>
              <a:pPr/>
              <a:t>1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175589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BE"/>
          </a:p>
          <a:p>
            <a:pPr marL="342900" lvl="0" indent="-342900">
              <a:buFont typeface="+mj-lt"/>
              <a:buAutoNum type="arabicParenR"/>
            </a:pPr>
            <a:r>
              <a:rPr lang="nl-BE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gh level: situeren van de verschillende tracks </a:t>
            </a:r>
          </a:p>
          <a:p>
            <a:pPr marL="342900" lvl="0" indent="-342900">
              <a:buFont typeface="+mj-lt"/>
              <a:buAutoNum type="arabicParenR"/>
            </a:pPr>
            <a:r>
              <a:rPr lang="nl-BE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rugblik: afgelopen 5 kwartalen </a:t>
            </a:r>
          </a:p>
          <a:p>
            <a:pPr marL="342900" lvl="0" indent="-342900">
              <a:buFont typeface="+mj-lt"/>
              <a:buAutoNum type="arabicParenR"/>
            </a:pPr>
            <a:r>
              <a:rPr lang="nl-BE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ijfers: we duiken kort in een aantal cijfers over het gebruik van de nieuwe API</a:t>
            </a:r>
          </a:p>
          <a:p>
            <a:pPr marL="342900" lvl="0" indent="-342900">
              <a:buFont typeface="+mj-lt"/>
              <a:buAutoNum type="arabicParenR"/>
            </a:pPr>
            <a:r>
              <a:rPr lang="nl-BE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oruitblik van 2024: Wat staat er de komende maanden in 2024 op de planning met betrekking tot Personalia en de volgende tracks</a:t>
            </a:r>
          </a:p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5A0D9C-0CD0-4097-81EC-9B83965EC080}" type="slidenum">
              <a:rPr lang="nl-BE" smtClean="0"/>
              <a:pPr/>
              <a:t>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1986699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r>
              <a:rPr lang="nl-BE"/>
              <a:t>IPS 1.0 op 29 april, vandaag: evaluatie + wat valt er nog op te lossen: bugs/</a:t>
            </a:r>
            <a:r>
              <a:rPr lang="nl-BE" err="1"/>
              <a:t>fuctionele</a:t>
            </a:r>
            <a:r>
              <a:rPr lang="nl-BE"/>
              <a:t> verbeteringen </a:t>
            </a:r>
            <a:r>
              <a:rPr lang="nl-BE">
                <a:sym typeface="Wingdings" panose="05000000000000000000" pitchFamily="2" charset="2"/>
              </a:rPr>
              <a:t> daarbij zijn een aantal lopende trajecten</a:t>
            </a:r>
            <a:endParaRPr lang="nl-BE"/>
          </a:p>
          <a:p>
            <a:pPr marL="457200" lvl="1" indent="0">
              <a:buNone/>
            </a:pPr>
            <a:r>
              <a:rPr lang="nl-BE" b="1"/>
              <a:t>belangrijk</a:t>
            </a:r>
          </a:p>
          <a:p>
            <a:pPr marL="0" indent="0">
              <a:buNone/>
            </a:pPr>
            <a:r>
              <a:rPr lang="nl-BE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	Bij Persona is er een traject met DPO gaande dat we informatie vanuit Personalia ook kunnen teruggeven, </a:t>
            </a:r>
          </a:p>
          <a:p>
            <a:pPr marL="0" indent="0">
              <a:buNone/>
            </a:pPr>
            <a:r>
              <a:rPr lang="nl-BE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	we hebben hier nog geen definitief antwoord omwille van privacy,  moet dit afgedekt zijn door de juiste machtigingen en protocollen. </a:t>
            </a:r>
          </a:p>
          <a:p>
            <a:pPr marL="0" indent="0">
              <a:buNone/>
            </a:pPr>
            <a:r>
              <a:rPr lang="nl-BE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	Dit is dus een lopend traject.</a:t>
            </a:r>
          </a:p>
          <a:p>
            <a:pPr marL="0" indent="0">
              <a:buNone/>
            </a:pPr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5A0D9C-0CD0-4097-81EC-9B83965EC080}" type="slidenum">
              <a:rPr lang="nl-BE" smtClean="0"/>
              <a:pPr/>
              <a:t>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1290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/>
              <a:t>3) Overige </a:t>
            </a:r>
            <a:r>
              <a:rPr lang="nl-BE" err="1"/>
              <a:t>RLs</a:t>
            </a:r>
            <a:r>
              <a:rPr lang="nl-BE"/>
              <a:t>:</a:t>
            </a:r>
          </a:p>
          <a:p>
            <a:pPr indent="228600">
              <a:lnSpc>
                <a:spcPct val="107000"/>
              </a:lnSpc>
              <a:spcAft>
                <a:spcPts val="800"/>
              </a:spcAft>
            </a:pPr>
            <a:r>
              <a:rPr lang="nl-BE" sz="11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rschillende technische opties:</a:t>
            </a:r>
            <a:endParaRPr lang="nl-BE" sz="1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fontAlgn="ctr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678180" algn="l"/>
              </a:tabLst>
            </a:pPr>
            <a:r>
              <a:rPr lang="nl-BE" sz="11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at is haalbaar en wat </a:t>
            </a:r>
            <a:r>
              <a:rPr lang="nl-BE" sz="110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voor</a:t>
            </a:r>
            <a:r>
              <a:rPr lang="nl-BE" sz="11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de SWL </a:t>
            </a:r>
            <a:endParaRPr lang="nl-BE" sz="1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fontAlgn="ctr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1135380" algn="l"/>
              </a:tabLst>
            </a:pPr>
            <a:r>
              <a:rPr lang="nl-BE" sz="11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oor en nadelen bekijken </a:t>
            </a:r>
            <a:endParaRPr lang="nl-BE" sz="1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fontAlgn="ctr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1135380" algn="l"/>
              </a:tabLst>
            </a:pPr>
            <a:r>
              <a:rPr lang="nl-BE" sz="11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niet te veel verschillende manieren om informatie moet gaan doorsturen.</a:t>
            </a:r>
            <a:endParaRPr lang="nl-BE" sz="1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fontAlgn="ctr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1135380" algn="l"/>
              </a:tabLst>
            </a:pPr>
            <a:r>
              <a:rPr lang="nl-BE" sz="11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iet 3 keer moet aanpassen op een jaar tijd om dezelfde informatie te kunnen versturen.</a:t>
            </a:r>
            <a:endParaRPr lang="nl-BE" sz="1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fontAlgn="ctr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678180" algn="l"/>
              </a:tabLst>
            </a:pPr>
            <a:r>
              <a:rPr lang="nl-BE" sz="11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ogelijkheid om voorlopig op een technische manier, gelijkaardig aan </a:t>
            </a:r>
            <a:r>
              <a:rPr lang="nl-BE" sz="110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iscimus</a:t>
            </a:r>
            <a:r>
              <a:rPr lang="nl-BE" sz="11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of rechtstreekse API op mainframe, Persona</a:t>
            </a:r>
            <a:endParaRPr lang="nl-BE" sz="1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fontAlgn="ctr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678180" algn="l"/>
              </a:tabLst>
            </a:pPr>
            <a:r>
              <a:rPr lang="nl-BE" sz="11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it is nog in analyse</a:t>
            </a:r>
            <a:endParaRPr lang="nl-BE" sz="1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5A0D9C-0CD0-4097-81EC-9B83965EC080}" type="slidenum">
              <a:rPr lang="nl-BE" smtClean="0"/>
              <a:pPr/>
              <a:t>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835611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5A0D9C-0CD0-4097-81EC-9B83965EC080}" type="slidenum">
              <a:rPr lang="nl-BE" smtClean="0"/>
              <a:pPr/>
              <a:t>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475940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er Acceptance Test (UAT)</a:t>
            </a:r>
            <a:endParaRPr lang="nl-BE" sz="18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l-BE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bruiker centraal  + geheel system voldoet aan de business vereisten en dat de applicatie klaar is voor de eindgebruikers. </a:t>
            </a:r>
          </a:p>
          <a:p>
            <a:r>
              <a:rPr lang="nl-BE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ad/duur testen Pen testen: </a:t>
            </a:r>
            <a:r>
              <a:rPr lang="nl-BE" sz="18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eiliging</a:t>
            </a:r>
            <a:r>
              <a:rPr lang="nl-BE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an het systeem. Kwetsbaarheden blootleggen.</a:t>
            </a:r>
          </a:p>
          <a:p>
            <a:r>
              <a:rPr lang="nl-BE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chnische testscenario’s als E2E testen met </a:t>
            </a:r>
            <a:r>
              <a:rPr lang="nl-BE" sz="18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WLs</a:t>
            </a:r>
            <a:endParaRPr lang="nl-BE" sz="18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l-BE" sz="18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l-BE" sz="1800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</a:t>
            </a:r>
            <a:r>
              <a:rPr lang="nl-BE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l-BE" sz="1800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migratie</a:t>
            </a:r>
            <a:endParaRPr lang="nl-BE" sz="18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l-BE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 gegevens zijn dan overgedragen van EPD en opgeladen in Persona,</a:t>
            </a:r>
          </a:p>
          <a:p>
            <a:r>
              <a:rPr lang="nl-BE" sz="180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rsonalia RL zendingen worden de laatste keer verwerkt zondagavond 21/04.</a:t>
            </a:r>
            <a:endParaRPr lang="nl-BE" sz="18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l-BE" sz="180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pping</a:t>
            </a:r>
            <a:r>
              <a:rPr lang="nl-BE" sz="180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file met stamboeknummer-Persona GUID 25/04.</a:t>
            </a:r>
          </a:p>
          <a:p>
            <a:r>
              <a:rPr lang="nl-BE" sz="18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ftercare</a:t>
            </a:r>
            <a:r>
              <a:rPr lang="nl-BE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wettelijk samenwonend, foutberichten, zorgbehoevenden</a:t>
            </a:r>
          </a:p>
          <a:p>
            <a:endParaRPr lang="nl-BE" sz="18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5A0D9C-0CD0-4097-81EC-9B83965EC080}" type="slidenum">
              <a:rPr lang="nl-BE" smtClean="0"/>
              <a:pPr/>
              <a:t>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3916336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5A0D9C-0CD0-4097-81EC-9B83965EC080}" type="slidenum">
              <a:rPr lang="nl-BE" smtClean="0"/>
              <a:pPr/>
              <a:t>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5826195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5A0D9C-0CD0-4097-81EC-9B83965EC080}" type="slidenum">
              <a:rPr lang="nl-BE" smtClean="0"/>
              <a:pPr/>
              <a:t>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373720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  <a:p>
            <a:endParaRPr lang="nl-BE"/>
          </a:p>
          <a:p>
            <a:endParaRPr lang="nl-BE"/>
          </a:p>
          <a:p>
            <a:endParaRPr lang="nl-BE"/>
          </a:p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5A0D9C-0CD0-4097-81EC-9B83965EC080}" type="slidenum">
              <a:rPr lang="nl-BE" smtClean="0"/>
              <a:pPr/>
              <a:t>9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701763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4">
            <a:extLst>
              <a:ext uri="{FF2B5EF4-FFF2-40B4-BE49-F238E27FC236}">
                <a16:creationId xmlns:a16="http://schemas.microsoft.com/office/drawing/2014/main" id="{B46ABD7E-E3D0-9B1E-0AD2-D1E58AE58B8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21450" y="216000"/>
            <a:ext cx="4362650" cy="4701175"/>
          </a:xfrm>
          <a:custGeom>
            <a:avLst/>
            <a:gdLst>
              <a:gd name="connsiteX0" fmla="*/ 0 w 8568000"/>
              <a:gd name="connsiteY0" fmla="*/ 4698000 h 4698000"/>
              <a:gd name="connsiteX1" fmla="*/ 1174500 w 8568000"/>
              <a:gd name="connsiteY1" fmla="*/ 0 h 4698000"/>
              <a:gd name="connsiteX2" fmla="*/ 7393500 w 8568000"/>
              <a:gd name="connsiteY2" fmla="*/ 0 h 4698000"/>
              <a:gd name="connsiteX3" fmla="*/ 8568000 w 8568000"/>
              <a:gd name="connsiteY3" fmla="*/ 4698000 h 4698000"/>
              <a:gd name="connsiteX4" fmla="*/ 0 w 8568000"/>
              <a:gd name="connsiteY4" fmla="*/ 4698000 h 4698000"/>
              <a:gd name="connsiteX0" fmla="*/ 4817375 w 7393500"/>
              <a:gd name="connsiteY0" fmla="*/ 4698000 h 4698000"/>
              <a:gd name="connsiteX1" fmla="*/ 0 w 7393500"/>
              <a:gd name="connsiteY1" fmla="*/ 0 h 4698000"/>
              <a:gd name="connsiteX2" fmla="*/ 6219000 w 7393500"/>
              <a:gd name="connsiteY2" fmla="*/ 0 h 4698000"/>
              <a:gd name="connsiteX3" fmla="*/ 7393500 w 7393500"/>
              <a:gd name="connsiteY3" fmla="*/ 4698000 h 4698000"/>
              <a:gd name="connsiteX4" fmla="*/ 4817375 w 7393500"/>
              <a:gd name="connsiteY4" fmla="*/ 4698000 h 4698000"/>
              <a:gd name="connsiteX0" fmla="*/ 1744764 w 4320889"/>
              <a:gd name="connsiteY0" fmla="*/ 4698000 h 4698000"/>
              <a:gd name="connsiteX1" fmla="*/ 0 w 4320889"/>
              <a:gd name="connsiteY1" fmla="*/ 5680 h 4698000"/>
              <a:gd name="connsiteX2" fmla="*/ 3146389 w 4320889"/>
              <a:gd name="connsiteY2" fmla="*/ 0 h 4698000"/>
              <a:gd name="connsiteX3" fmla="*/ 4320889 w 4320889"/>
              <a:gd name="connsiteY3" fmla="*/ 4698000 h 4698000"/>
              <a:gd name="connsiteX4" fmla="*/ 1744764 w 4320889"/>
              <a:gd name="connsiteY4" fmla="*/ 4698000 h 4698000"/>
              <a:gd name="connsiteX0" fmla="*/ 1744764 w 4327725"/>
              <a:gd name="connsiteY0" fmla="*/ 4698000 h 4698000"/>
              <a:gd name="connsiteX1" fmla="*/ 0 w 4327725"/>
              <a:gd name="connsiteY1" fmla="*/ 5680 h 4698000"/>
              <a:gd name="connsiteX2" fmla="*/ 4327725 w 4327725"/>
              <a:gd name="connsiteY2" fmla="*/ 0 h 4698000"/>
              <a:gd name="connsiteX3" fmla="*/ 4320889 w 4327725"/>
              <a:gd name="connsiteY3" fmla="*/ 4698000 h 4698000"/>
              <a:gd name="connsiteX4" fmla="*/ 1744764 w 4327725"/>
              <a:gd name="connsiteY4" fmla="*/ 4698000 h 4698000"/>
              <a:gd name="connsiteX0" fmla="*/ 1789214 w 4327725"/>
              <a:gd name="connsiteY0" fmla="*/ 4701175 h 4701175"/>
              <a:gd name="connsiteX1" fmla="*/ 0 w 4327725"/>
              <a:gd name="connsiteY1" fmla="*/ 5680 h 4701175"/>
              <a:gd name="connsiteX2" fmla="*/ 4327725 w 4327725"/>
              <a:gd name="connsiteY2" fmla="*/ 0 h 4701175"/>
              <a:gd name="connsiteX3" fmla="*/ 4320889 w 4327725"/>
              <a:gd name="connsiteY3" fmla="*/ 4698000 h 4701175"/>
              <a:gd name="connsiteX4" fmla="*/ 1789214 w 4327725"/>
              <a:gd name="connsiteY4" fmla="*/ 4701175 h 4701175"/>
              <a:gd name="connsiteX0" fmla="*/ 1824139 w 4362650"/>
              <a:gd name="connsiteY0" fmla="*/ 4701175 h 4701175"/>
              <a:gd name="connsiteX1" fmla="*/ 0 w 4362650"/>
              <a:gd name="connsiteY1" fmla="*/ 5680 h 4701175"/>
              <a:gd name="connsiteX2" fmla="*/ 4362650 w 4362650"/>
              <a:gd name="connsiteY2" fmla="*/ 0 h 4701175"/>
              <a:gd name="connsiteX3" fmla="*/ 4355814 w 4362650"/>
              <a:gd name="connsiteY3" fmla="*/ 4698000 h 4701175"/>
              <a:gd name="connsiteX4" fmla="*/ 1824139 w 4362650"/>
              <a:gd name="connsiteY4" fmla="*/ 4701175 h 4701175"/>
              <a:gd name="connsiteX0" fmla="*/ 1811439 w 4362650"/>
              <a:gd name="connsiteY0" fmla="*/ 4701175 h 4701175"/>
              <a:gd name="connsiteX1" fmla="*/ 0 w 4362650"/>
              <a:gd name="connsiteY1" fmla="*/ 5680 h 4701175"/>
              <a:gd name="connsiteX2" fmla="*/ 4362650 w 4362650"/>
              <a:gd name="connsiteY2" fmla="*/ 0 h 4701175"/>
              <a:gd name="connsiteX3" fmla="*/ 4355814 w 4362650"/>
              <a:gd name="connsiteY3" fmla="*/ 4698000 h 4701175"/>
              <a:gd name="connsiteX4" fmla="*/ 1811439 w 4362650"/>
              <a:gd name="connsiteY4" fmla="*/ 4701175 h 4701175"/>
              <a:gd name="connsiteX0" fmla="*/ 1795564 w 4362650"/>
              <a:gd name="connsiteY0" fmla="*/ 4701175 h 4701175"/>
              <a:gd name="connsiteX1" fmla="*/ 0 w 4362650"/>
              <a:gd name="connsiteY1" fmla="*/ 5680 h 4701175"/>
              <a:gd name="connsiteX2" fmla="*/ 4362650 w 4362650"/>
              <a:gd name="connsiteY2" fmla="*/ 0 h 4701175"/>
              <a:gd name="connsiteX3" fmla="*/ 4355814 w 4362650"/>
              <a:gd name="connsiteY3" fmla="*/ 4698000 h 4701175"/>
              <a:gd name="connsiteX4" fmla="*/ 1795564 w 4362650"/>
              <a:gd name="connsiteY4" fmla="*/ 4701175 h 470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62650" h="4701175">
                <a:moveTo>
                  <a:pt x="1795564" y="4701175"/>
                </a:moveTo>
                <a:lnTo>
                  <a:pt x="0" y="5680"/>
                </a:lnTo>
                <a:lnTo>
                  <a:pt x="4362650" y="0"/>
                </a:lnTo>
                <a:cubicBezTo>
                  <a:pt x="4360371" y="1566000"/>
                  <a:pt x="4358093" y="3132000"/>
                  <a:pt x="4355814" y="4698000"/>
                </a:cubicBezTo>
                <a:lnTo>
                  <a:pt x="1795564" y="4701175"/>
                </a:lnTo>
                <a:close/>
              </a:path>
            </a:pathLst>
          </a:custGeom>
          <a:noFill/>
        </p:spPr>
        <p:txBody>
          <a:bodyPr anchor="ctr"/>
          <a:lstStyle>
            <a:lvl1pPr marL="0" indent="0" algn="r">
              <a:buNone/>
              <a:defRPr>
                <a:solidFill>
                  <a:srgbClr val="FF0000"/>
                </a:solidFill>
                <a:latin typeface="FlandersArtSans-Regular" panose="00000500000000000000" pitchFamily="2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BE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62B98B29-1103-F56E-07E8-14FD12FE1BC8}"/>
              </a:ext>
            </a:extLst>
          </p:cNvPr>
          <p:cNvSpPr>
            <a:spLocks/>
          </p:cNvSpPr>
          <p:nvPr userDrawn="1"/>
        </p:nvSpPr>
        <p:spPr>
          <a:xfrm>
            <a:off x="288002" y="218069"/>
            <a:ext cx="6033505" cy="4699106"/>
          </a:xfrm>
          <a:custGeom>
            <a:avLst/>
            <a:gdLst>
              <a:gd name="connsiteX0" fmla="*/ 0 w 6033505"/>
              <a:gd name="connsiteY0" fmla="*/ 0 h 4699106"/>
              <a:gd name="connsiteX1" fmla="*/ 4247999 w 6033505"/>
              <a:gd name="connsiteY1" fmla="*/ 0 h 4699106"/>
              <a:gd name="connsiteX2" fmla="*/ 4248000 w 6033505"/>
              <a:gd name="connsiteY2" fmla="*/ 0 h 4699106"/>
              <a:gd name="connsiteX3" fmla="*/ 4248000 w 6033505"/>
              <a:gd name="connsiteY3" fmla="*/ 3 h 4699106"/>
              <a:gd name="connsiteX4" fmla="*/ 6033505 w 6033505"/>
              <a:gd name="connsiteY4" fmla="*/ 4698000 h 4699106"/>
              <a:gd name="connsiteX5" fmla="*/ 4248000 w 6033505"/>
              <a:gd name="connsiteY5" fmla="*/ 4698000 h 4699106"/>
              <a:gd name="connsiteX6" fmla="*/ 4248000 w 6033505"/>
              <a:gd name="connsiteY6" fmla="*/ 4699106 h 4699106"/>
              <a:gd name="connsiteX7" fmla="*/ 0 w 6033505"/>
              <a:gd name="connsiteY7" fmla="*/ 4699106 h 4699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33505" h="4699106">
                <a:moveTo>
                  <a:pt x="0" y="0"/>
                </a:moveTo>
                <a:lnTo>
                  <a:pt x="4247999" y="0"/>
                </a:lnTo>
                <a:lnTo>
                  <a:pt x="4248000" y="0"/>
                </a:lnTo>
                <a:lnTo>
                  <a:pt x="4248000" y="3"/>
                </a:lnTo>
                <a:lnTo>
                  <a:pt x="6033505" y="4698000"/>
                </a:lnTo>
                <a:lnTo>
                  <a:pt x="4248000" y="4698000"/>
                </a:lnTo>
                <a:lnTo>
                  <a:pt x="4248000" y="4699106"/>
                </a:lnTo>
                <a:lnTo>
                  <a:pt x="0" y="469910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350">
              <a:latin typeface="FlandersArtSans-Regular" panose="00000500000000000000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332000" y="1917000"/>
            <a:ext cx="3816000" cy="1457999"/>
          </a:xfrm>
        </p:spPr>
        <p:txBody>
          <a:bodyPr wrap="square" anchor="t" anchorCtr="0">
            <a:noAutofit/>
          </a:bodyPr>
          <a:lstStyle>
            <a:lvl1pPr algn="l">
              <a:lnSpc>
                <a:spcPts val="3900"/>
              </a:lnSpc>
              <a:defRPr sz="3900" b="0" i="0">
                <a:latin typeface="+mj-lt"/>
                <a:cs typeface="Calibri"/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333577" y="3488229"/>
            <a:ext cx="3816000" cy="918000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l">
              <a:lnSpc>
                <a:spcPts val="1320"/>
              </a:lnSpc>
              <a:buNone/>
              <a:defRPr sz="1185">
                <a:latin typeface="FlandersArtSans-Regular" panose="00000500000000000000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ken om de ondertitelstijl van het model te bewerken</a:t>
            </a:r>
            <a:endParaRPr lang="nl-BE"/>
          </a:p>
        </p:txBody>
      </p:sp>
      <p:sp>
        <p:nvSpPr>
          <p:cNvPr id="14" name="Tijdelijke aanduiding voor tekst 2"/>
          <p:cNvSpPr>
            <a:spLocks noGrp="1"/>
          </p:cNvSpPr>
          <p:nvPr>
            <p:ph idx="12" hasCustomPrompt="1"/>
          </p:nvPr>
        </p:nvSpPr>
        <p:spPr>
          <a:xfrm>
            <a:off x="504001" y="4533079"/>
            <a:ext cx="4773240" cy="264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r">
              <a:buFontTx/>
              <a:buNone/>
              <a:defRPr sz="1275">
                <a:latin typeface="FlandersArtSans-Regular" panose="00000500000000000000" pitchFamily="2" charset="0"/>
                <a:cs typeface="Calibri"/>
              </a:defRPr>
            </a:lvl1pPr>
            <a:lvl5pPr>
              <a:defRPr>
                <a:latin typeface="FlandersArtSans-Regular" panose="00000500000000000000" pitchFamily="2" charset="0"/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4"/>
            <a:endParaRPr lang="nl-B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EBD031F-3FAF-0AF2-03D9-7C38B51955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4647" y="4312691"/>
            <a:ext cx="759058" cy="35771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777D674-4E0A-2EA4-D746-F66014EE769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65005" y="537733"/>
            <a:ext cx="1821067" cy="70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7640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2" hasCustomPrompt="1"/>
          </p:nvPr>
        </p:nvSpPr>
        <p:spPr>
          <a:xfrm>
            <a:off x="287999" y="0"/>
            <a:ext cx="8856000" cy="5143500"/>
          </a:xfrm>
        </p:spPr>
        <p:txBody>
          <a:bodyPr/>
          <a:lstStyle>
            <a:lvl1pPr algn="ctr">
              <a:buNone/>
              <a:defRPr>
                <a:solidFill>
                  <a:srgbClr val="FF0000"/>
                </a:solidFill>
                <a:latin typeface="FlandersArtSans-Regular" panose="00000500000000000000" pitchFamily="2" charset="0"/>
              </a:defRPr>
            </a:lvl1pPr>
          </a:lstStyle>
          <a:p>
            <a:r>
              <a:rPr lang="fr-FR" err="1"/>
              <a:t>Sleep</a:t>
            </a:r>
            <a:r>
              <a:rPr lang="fr-FR"/>
              <a:t> de </a:t>
            </a:r>
            <a:r>
              <a:rPr lang="fr-FR" err="1"/>
              <a:t>afbeelding</a:t>
            </a:r>
            <a:r>
              <a:rPr lang="fr-FR"/>
              <a:t> </a:t>
            </a:r>
            <a:r>
              <a:rPr lang="fr-FR" err="1"/>
              <a:t>naar</a:t>
            </a:r>
            <a:r>
              <a:rPr lang="fr-FR"/>
              <a:t> de </a:t>
            </a:r>
            <a:r>
              <a:rPr lang="fr-FR" err="1"/>
              <a:t>tijdelijke</a:t>
            </a:r>
            <a:r>
              <a:rPr lang="fr-FR"/>
              <a:t> </a:t>
            </a:r>
            <a:r>
              <a:rPr lang="fr-FR" err="1"/>
              <a:t>aanduiding</a:t>
            </a:r>
            <a:r>
              <a:rPr lang="fr-FR"/>
              <a:t> of </a:t>
            </a:r>
            <a:r>
              <a:rPr lang="fr-FR" err="1"/>
              <a:t>klik</a:t>
            </a:r>
            <a:r>
              <a:rPr lang="fr-FR"/>
              <a:t> op </a:t>
            </a:r>
            <a:r>
              <a:rPr lang="fr-FR" err="1"/>
              <a:t>het</a:t>
            </a:r>
            <a:r>
              <a:rPr lang="fr-FR"/>
              <a:t> </a:t>
            </a:r>
            <a:r>
              <a:rPr lang="fr-FR" err="1"/>
              <a:t>pictogram</a:t>
            </a:r>
            <a:r>
              <a:rPr lang="fr-FR"/>
              <a:t> </a:t>
            </a:r>
            <a:br>
              <a:rPr lang="fr-FR"/>
            </a:br>
            <a:r>
              <a:rPr lang="fr-FR" err="1"/>
              <a:t>als</a:t>
            </a:r>
            <a:r>
              <a:rPr lang="fr-FR"/>
              <a:t> u </a:t>
            </a:r>
            <a:r>
              <a:rPr lang="fr-FR" err="1"/>
              <a:t>een</a:t>
            </a:r>
            <a:r>
              <a:rPr lang="fr-FR"/>
              <a:t> </a:t>
            </a:r>
            <a:r>
              <a:rPr lang="fr-FR" err="1"/>
              <a:t>afbeelding</a:t>
            </a:r>
            <a:r>
              <a:rPr lang="fr-FR"/>
              <a:t> </a:t>
            </a:r>
            <a:r>
              <a:rPr lang="fr-FR" err="1"/>
              <a:t>wilt</a:t>
            </a:r>
            <a:r>
              <a:rPr lang="fr-FR"/>
              <a:t> </a:t>
            </a:r>
            <a:r>
              <a:rPr lang="fr-FR" err="1"/>
              <a:t>toevoegen</a:t>
            </a:r>
            <a:endParaRPr lang="nl-B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96001" y="1517400"/>
            <a:ext cx="3108049" cy="1555200"/>
          </a:xfrm>
        </p:spPr>
        <p:txBody>
          <a:bodyPr anchor="b" anchorCtr="0">
            <a:noAutofit/>
          </a:bodyPr>
          <a:lstStyle>
            <a:lvl1pPr indent="0" algn="l">
              <a:lnSpc>
                <a:spcPts val="4050"/>
              </a:lnSpc>
              <a:defRPr sz="40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296000" y="3115800"/>
            <a:ext cx="7416000" cy="1242000"/>
          </a:xfrm>
        </p:spPr>
        <p:txBody>
          <a:bodyPr bIns="0">
            <a:noAutofit/>
          </a:bodyPr>
          <a:lstStyle>
            <a:lvl1pPr marL="0" indent="0" algn="l">
              <a:lnSpc>
                <a:spcPts val="1320"/>
              </a:lnSpc>
              <a:buNone/>
              <a:defRPr sz="1200">
                <a:solidFill>
                  <a:schemeClr val="bg1"/>
                </a:solidFill>
                <a:latin typeface="FlandersArtSans-Regular" panose="00000500000000000000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ken om de ondertitelstijl van het model te bewerken</a:t>
            </a:r>
            <a:endParaRPr lang="nl-BE"/>
          </a:p>
        </p:txBody>
      </p:sp>
      <p:sp>
        <p:nvSpPr>
          <p:cNvPr id="10" name="Tijdelijke aanduiding voor dianummer 6"/>
          <p:cNvSpPr>
            <a:spLocks noGrp="1"/>
          </p:cNvSpPr>
          <p:nvPr>
            <p:ph type="sldNum" sz="quarter" idx="13"/>
          </p:nvPr>
        </p:nvSpPr>
        <p:spPr>
          <a:xfrm>
            <a:off x="6876015" y="4752000"/>
            <a:ext cx="2141621" cy="273844"/>
          </a:xfrm>
        </p:spPr>
        <p:txBody>
          <a:bodyPr/>
          <a:lstStyle>
            <a:lvl1pPr>
              <a:defRPr sz="675">
                <a:latin typeface="FlandersArtSans-Regular" panose="00000500000000000000" pitchFamily="2" charset="0"/>
              </a:defRPr>
            </a:lvl1pPr>
          </a:lstStyle>
          <a:p>
            <a:fld id="{7749CDD0-7D77-4D23-9A27-F361E39BA472}" type="datetime1">
              <a:rPr lang="nl-BE" smtClean="0"/>
              <a:pPr/>
              <a:t>8/07/2024</a:t>
            </a:fld>
            <a:r>
              <a:rPr lang="nl-BE"/>
              <a:t> </a:t>
            </a:r>
            <a:r>
              <a:rPr lang="nl-BE" b="1"/>
              <a:t>│</a:t>
            </a:r>
            <a:fld id="{B263F6C6-2226-4286-8995-C42CB1E7C290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8" name="Rechthoek 7"/>
          <p:cNvSpPr/>
          <p:nvPr userDrawn="1"/>
        </p:nvSpPr>
        <p:spPr>
          <a:xfrm>
            <a:off x="1" y="0"/>
            <a:ext cx="282207" cy="5143500"/>
          </a:xfrm>
          <a:prstGeom prst="rect">
            <a:avLst/>
          </a:prstGeom>
          <a:solidFill>
            <a:srgbClr val="D26E25"/>
          </a:solidFill>
          <a:ln>
            <a:solidFill>
              <a:srgbClr val="D26E2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>
              <a:latin typeface="FlandersArtSans-Regular" panose="00000500000000000000" pitchFamily="2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A5875CE-C390-2C69-1DE0-82C9DA7490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6942" y="4544299"/>
            <a:ext cx="759058" cy="35771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B35582E-DB3B-61B5-71D8-3D9FD6A0691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65005" y="216000"/>
            <a:ext cx="1821067" cy="70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13398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257304"/>
            <a:ext cx="8439150" cy="34670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877362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1540938"/>
            <a:ext cx="8439150" cy="2946157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244862"/>
            <a:ext cx="8439150" cy="26789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1" y="4487095"/>
            <a:ext cx="8439151" cy="23730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506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527167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1539001"/>
            <a:ext cx="2700000" cy="294809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248967"/>
            <a:ext cx="2700000" cy="29408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1539001"/>
            <a:ext cx="2700000" cy="294809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248966"/>
            <a:ext cx="2700000" cy="29408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1539001"/>
            <a:ext cx="2700000" cy="294809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244359"/>
            <a:ext cx="2700000" cy="29869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1" y="4487095"/>
            <a:ext cx="8439151" cy="23730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506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301941"/>
            <a:ext cx="8439150" cy="2505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590723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51000" y="1248968"/>
            <a:ext cx="3996000" cy="3466880"/>
          </a:xfrm>
          <a:prstGeom prst="rect">
            <a:avLst/>
          </a:prstGeom>
        </p:spPr>
        <p:txBody>
          <a:bodyPr/>
          <a:lstStyle>
            <a:lvl1pPr>
              <a:tabLst>
                <a:tab pos="3771806" algn="r"/>
              </a:tabLst>
              <a:defRPr/>
            </a:lvl1pPr>
            <a:lvl2pPr>
              <a:tabLst>
                <a:tab pos="3771806" algn="r"/>
              </a:tabLst>
              <a:defRPr/>
            </a:lvl2pPr>
            <a:lvl3pPr>
              <a:tabLst>
                <a:tab pos="3771806" algn="r"/>
              </a:tabLst>
              <a:defRPr/>
            </a:lvl3pPr>
            <a:lvl4pPr>
              <a:tabLst>
                <a:tab pos="3771806" algn="r"/>
              </a:tabLst>
              <a:defRPr/>
            </a:lvl4pPr>
            <a:lvl5pPr>
              <a:tabLst>
                <a:tab pos="3771806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242002"/>
            <a:ext cx="3996000" cy="3473846"/>
          </a:xfrm>
          <a:prstGeom prst="rect">
            <a:avLst/>
          </a:prstGeom>
        </p:spPr>
        <p:txBody>
          <a:bodyPr/>
          <a:lstStyle>
            <a:lvl1pPr>
              <a:tabLst>
                <a:tab pos="3771806" algn="r"/>
              </a:tabLst>
              <a:defRPr/>
            </a:lvl1pPr>
            <a:lvl2pPr>
              <a:tabLst>
                <a:tab pos="3771806" algn="r"/>
              </a:tabLst>
              <a:defRPr/>
            </a:lvl2pPr>
            <a:lvl3pPr>
              <a:tabLst>
                <a:tab pos="3771806" algn="r"/>
              </a:tabLst>
              <a:defRPr/>
            </a:lvl3pPr>
            <a:lvl4pPr>
              <a:tabLst>
                <a:tab pos="3771806" algn="r"/>
              </a:tabLst>
              <a:defRPr/>
            </a:lvl4pPr>
            <a:lvl5pPr>
              <a:tabLst>
                <a:tab pos="3771806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864130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248966"/>
            <a:ext cx="3996000" cy="3475434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806" algn="r"/>
              </a:tabLst>
              <a:defRPr sz="900"/>
            </a:lvl1pPr>
            <a:lvl2pPr>
              <a:tabLst>
                <a:tab pos="3771806" algn="r"/>
              </a:tabLst>
              <a:defRPr sz="900"/>
            </a:lvl2pPr>
            <a:lvl3pPr>
              <a:tabLst>
                <a:tab pos="3771806" algn="r"/>
              </a:tabLst>
              <a:defRPr sz="900"/>
            </a:lvl3pPr>
            <a:lvl4pPr>
              <a:tabLst>
                <a:tab pos="3771806" algn="r"/>
              </a:tabLst>
              <a:defRPr sz="900"/>
            </a:lvl4pPr>
            <a:lvl5pPr>
              <a:tabLst>
                <a:tab pos="3771806" algn="r"/>
              </a:tabLst>
              <a:defRPr sz="563" baseline="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248966"/>
            <a:ext cx="3996000" cy="3475434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806" algn="r"/>
              </a:tabLst>
              <a:defRPr sz="900"/>
            </a:lvl1pPr>
            <a:lvl2pPr>
              <a:tabLst>
                <a:tab pos="3771806" algn="r"/>
              </a:tabLst>
              <a:defRPr sz="900"/>
            </a:lvl2pPr>
            <a:lvl3pPr>
              <a:tabLst>
                <a:tab pos="3771806" algn="r"/>
              </a:tabLst>
              <a:defRPr sz="900"/>
            </a:lvl3pPr>
            <a:lvl4pPr>
              <a:tabLst>
                <a:tab pos="3771806" algn="r"/>
              </a:tabLst>
              <a:defRPr sz="900"/>
            </a:lvl4pPr>
            <a:lvl5pPr>
              <a:tabLst>
                <a:tab pos="3771806" algn="r"/>
              </a:tabLst>
              <a:defRPr sz="563" baseline="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070537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248966"/>
            <a:ext cx="4110300" cy="3238127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806" algn="r"/>
              </a:tabLst>
              <a:defRPr/>
            </a:lvl1pPr>
            <a:lvl2pPr>
              <a:tabLst>
                <a:tab pos="3771806" algn="r"/>
              </a:tabLst>
              <a:defRPr/>
            </a:lvl2pPr>
            <a:lvl3pPr>
              <a:tabLst>
                <a:tab pos="3771806" algn="r"/>
              </a:tabLst>
              <a:defRPr/>
            </a:lvl3pPr>
            <a:lvl4pPr>
              <a:tabLst>
                <a:tab pos="3771806" algn="r"/>
              </a:tabLst>
              <a:defRPr/>
            </a:lvl4pPr>
            <a:lvl5pPr>
              <a:tabLst>
                <a:tab pos="3771806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9" y="1593762"/>
            <a:ext cx="4111887" cy="2893333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241823"/>
            <a:ext cx="4111887" cy="315515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1" y="4487095"/>
            <a:ext cx="8439151" cy="23730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506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298779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9" y="1593762"/>
            <a:ext cx="4111887" cy="2893333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90" y="1240523"/>
            <a:ext cx="4111887" cy="315515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2425" y="1593762"/>
            <a:ext cx="4111888" cy="2893333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52425" y="1248968"/>
            <a:ext cx="4111888" cy="30707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1" y="4487095"/>
            <a:ext cx="8439151" cy="23730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506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636467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248967"/>
            <a:ext cx="3323893" cy="3475435"/>
          </a:xfrm>
          <a:prstGeom prst="rect">
            <a:avLst/>
          </a:prstGeom>
        </p:spPr>
        <p:txBody>
          <a:bodyPr/>
          <a:lstStyle>
            <a:lvl1pPr>
              <a:tabLst>
                <a:tab pos="3771806" algn="r"/>
              </a:tabLst>
              <a:defRPr/>
            </a:lvl1pPr>
            <a:lvl2pPr>
              <a:tabLst>
                <a:tab pos="3771806" algn="r"/>
              </a:tabLst>
              <a:defRPr/>
            </a:lvl2pPr>
            <a:lvl3pPr>
              <a:tabLst>
                <a:tab pos="3771806" algn="r"/>
              </a:tabLst>
              <a:defRPr/>
            </a:lvl3pPr>
            <a:lvl4pPr>
              <a:tabLst>
                <a:tab pos="3771806" algn="r"/>
              </a:tabLst>
              <a:defRPr/>
            </a:lvl4pPr>
            <a:lvl5pPr>
              <a:tabLst>
                <a:tab pos="3771806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275162"/>
            <a:ext cx="4680000" cy="3449242"/>
          </a:xfrm>
          <a:prstGeom prst="rect">
            <a:avLst/>
          </a:prstGeom>
        </p:spPr>
        <p:txBody>
          <a:bodyPr/>
          <a:lstStyle>
            <a:lvl1pPr>
              <a:tabLst>
                <a:tab pos="3771806" algn="r"/>
              </a:tabLst>
              <a:defRPr/>
            </a:lvl1pPr>
            <a:lvl2pPr>
              <a:tabLst>
                <a:tab pos="3771806" algn="r"/>
              </a:tabLst>
              <a:defRPr/>
            </a:lvl2pPr>
            <a:lvl3pPr>
              <a:tabLst>
                <a:tab pos="3771806" algn="r"/>
              </a:tabLst>
              <a:defRPr/>
            </a:lvl3pPr>
            <a:lvl4pPr>
              <a:tabLst>
                <a:tab pos="3771806" algn="r"/>
              </a:tabLst>
              <a:defRPr/>
            </a:lvl4pPr>
            <a:lvl5pPr>
              <a:tabLst>
                <a:tab pos="3771806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665874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9" y="1219576"/>
            <a:ext cx="3200237" cy="3504826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806" algn="r"/>
              </a:tabLst>
              <a:defRPr sz="1350">
                <a:solidFill>
                  <a:schemeClr val="accent3"/>
                </a:solidFill>
              </a:defRPr>
            </a:lvl1pPr>
            <a:lvl2pPr>
              <a:tabLst>
                <a:tab pos="3771806" algn="r"/>
              </a:tabLst>
              <a:defRPr/>
            </a:lvl2pPr>
            <a:lvl3pPr>
              <a:tabLst>
                <a:tab pos="3771806" algn="r"/>
              </a:tabLst>
              <a:defRPr/>
            </a:lvl3pPr>
            <a:lvl4pPr>
              <a:tabLst>
                <a:tab pos="3771806" algn="r"/>
              </a:tabLst>
              <a:defRPr/>
            </a:lvl4pPr>
            <a:lvl5pPr>
              <a:tabLst>
                <a:tab pos="3771806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6" y="1248966"/>
            <a:ext cx="4995650" cy="3475435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806" algn="r"/>
              </a:tabLst>
              <a:defRPr/>
            </a:lvl1pPr>
            <a:lvl2pPr>
              <a:tabLst>
                <a:tab pos="3771806" algn="r"/>
              </a:tabLst>
              <a:defRPr/>
            </a:lvl2pPr>
            <a:lvl3pPr>
              <a:tabLst>
                <a:tab pos="3771806" algn="r"/>
              </a:tabLst>
              <a:defRPr/>
            </a:lvl3pPr>
            <a:lvl4pPr>
              <a:tabLst>
                <a:tab pos="3771806" algn="r"/>
              </a:tabLst>
              <a:defRPr/>
            </a:lvl4pPr>
            <a:lvl5pPr>
              <a:tabLst>
                <a:tab pos="3771806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2171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6557" y="1275160"/>
            <a:ext cx="1998000" cy="945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5780" y="1275159"/>
            <a:ext cx="1998000" cy="945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45004" y="1275159"/>
            <a:ext cx="1998000" cy="945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84227" y="1275159"/>
            <a:ext cx="1998000" cy="945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61772" y="2307430"/>
            <a:ext cx="1980000" cy="241697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32297" indent="-132297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267293" indent="-132297">
              <a:spcAft>
                <a:spcPts val="0"/>
              </a:spcAft>
              <a:defRPr baseline="0"/>
            </a:lvl5pPr>
            <a:lvl6pPr marL="267293" indent="-132297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293" indent="-132297">
              <a:spcAft>
                <a:spcPts val="0"/>
              </a:spcAft>
              <a:defRPr/>
            </a:lvl7pPr>
            <a:lvl8pPr marL="267293" indent="-132297">
              <a:spcAft>
                <a:spcPts val="0"/>
              </a:spcAft>
              <a:defRPr/>
            </a:lvl8pPr>
            <a:lvl9pPr marL="267293" indent="-132297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55408" y="2309807"/>
            <a:ext cx="1980000" cy="241697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32297" indent="-132297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267293" indent="-132297">
              <a:spcAft>
                <a:spcPts val="0"/>
              </a:spcAft>
              <a:defRPr baseline="0"/>
            </a:lvl5pPr>
            <a:lvl6pPr marL="267293" indent="-132297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293" indent="-132297">
              <a:spcAft>
                <a:spcPts val="0"/>
              </a:spcAft>
              <a:defRPr/>
            </a:lvl7pPr>
            <a:lvl8pPr marL="267293" indent="-132297">
              <a:spcAft>
                <a:spcPts val="0"/>
              </a:spcAft>
              <a:defRPr/>
            </a:lvl8pPr>
            <a:lvl9pPr marL="267293" indent="-132297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590" y="2307430"/>
            <a:ext cx="1980000" cy="241697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32297" indent="-132297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267293" indent="-132297">
              <a:spcAft>
                <a:spcPts val="0"/>
              </a:spcAft>
              <a:defRPr baseline="0"/>
            </a:lvl5pPr>
            <a:lvl6pPr marL="267293" indent="-132297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293" indent="-132297">
              <a:spcAft>
                <a:spcPts val="0"/>
              </a:spcAft>
              <a:defRPr/>
            </a:lvl7pPr>
            <a:lvl8pPr marL="267293" indent="-132297">
              <a:spcAft>
                <a:spcPts val="0"/>
              </a:spcAft>
              <a:defRPr/>
            </a:lvl8pPr>
            <a:lvl9pPr marL="267293" indent="-132297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02227" y="2309807"/>
            <a:ext cx="1980000" cy="241697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32297" indent="-132297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267293" indent="-132297">
              <a:spcAft>
                <a:spcPts val="0"/>
              </a:spcAft>
              <a:defRPr baseline="0"/>
            </a:lvl5pPr>
            <a:lvl6pPr marL="267293" indent="-132297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293" indent="-132297">
              <a:spcAft>
                <a:spcPts val="0"/>
              </a:spcAft>
              <a:defRPr/>
            </a:lvl7pPr>
            <a:lvl8pPr marL="267293" indent="-132297">
              <a:spcAft>
                <a:spcPts val="0"/>
              </a:spcAft>
              <a:defRPr/>
            </a:lvl8pPr>
            <a:lvl9pPr marL="267293" indent="-132297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07717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8856000" cy="5143500"/>
          </a:xfrm>
        </p:spPr>
        <p:txBody>
          <a:bodyPr anchor="ctr"/>
          <a:lstStyle>
            <a:lvl1pPr algn="ctr">
              <a:buNone/>
              <a:defRPr>
                <a:solidFill>
                  <a:srgbClr val="FF0000"/>
                </a:solidFill>
                <a:latin typeface="FlandersArtSans-Regular" panose="00000500000000000000" pitchFamily="2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BE"/>
          </a:p>
        </p:txBody>
      </p:sp>
      <p:grpSp>
        <p:nvGrpSpPr>
          <p:cNvPr id="11" name="Groeperen 10"/>
          <p:cNvGrpSpPr/>
          <p:nvPr userDrawn="1"/>
        </p:nvGrpSpPr>
        <p:grpSpPr>
          <a:xfrm>
            <a:off x="288000" y="2551500"/>
            <a:ext cx="8856000" cy="2592000"/>
            <a:chOff x="288000" y="3402000"/>
            <a:chExt cx="8856000" cy="3456000"/>
          </a:xfrm>
        </p:grpSpPr>
        <p:sp>
          <p:nvSpPr>
            <p:cNvPr id="5" name="Rechthoek 4"/>
            <p:cNvSpPr/>
            <p:nvPr userDrawn="1"/>
          </p:nvSpPr>
          <p:spPr>
            <a:xfrm>
              <a:off x="288000" y="4266000"/>
              <a:ext cx="8856000" cy="259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>
                <a:latin typeface="FlandersArtSans-Regular" panose="00000500000000000000" pitchFamily="2" charset="0"/>
              </a:endParaRPr>
            </a:p>
          </p:txBody>
        </p:sp>
        <p:sp>
          <p:nvSpPr>
            <p:cNvPr id="7" name="Rechthoekige driehoek 6"/>
            <p:cNvSpPr/>
            <p:nvPr userDrawn="1"/>
          </p:nvSpPr>
          <p:spPr>
            <a:xfrm flipH="1">
              <a:off x="288000" y="3402000"/>
              <a:ext cx="8856000" cy="864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>
                <a:latin typeface="FlandersArtSans-Regular" panose="00000500000000000000" pitchFamily="2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96001" y="567000"/>
            <a:ext cx="3686547" cy="1647000"/>
          </a:xfrm>
        </p:spPr>
        <p:txBody>
          <a:bodyPr anchor="t">
            <a:noAutofit/>
          </a:bodyPr>
          <a:lstStyle>
            <a:lvl1pPr indent="0" algn="l">
              <a:lnSpc>
                <a:spcPts val="2850"/>
              </a:lnSpc>
              <a:defRPr sz="2775" b="0" i="0">
                <a:solidFill>
                  <a:schemeClr val="bg1"/>
                </a:solidFill>
                <a:latin typeface="+mj-lt"/>
                <a:cs typeface="FlandersArtSans-Regular" panose="00000500000000000000" pitchFamily="2" charset="0"/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8" name="Tijdelijke aanduiding voor dianummer 6"/>
          <p:cNvSpPr>
            <a:spLocks noGrp="1"/>
          </p:cNvSpPr>
          <p:nvPr>
            <p:ph type="sldNum" sz="quarter" idx="12"/>
          </p:nvPr>
        </p:nvSpPr>
        <p:spPr>
          <a:xfrm>
            <a:off x="6876015" y="4752000"/>
            <a:ext cx="2141621" cy="273844"/>
          </a:xfrm>
        </p:spPr>
        <p:txBody>
          <a:bodyPr/>
          <a:lstStyle>
            <a:lvl1pPr>
              <a:defRPr sz="675">
                <a:latin typeface="FlandersArtSans-Regular" panose="00000500000000000000" pitchFamily="2" charset="0"/>
              </a:defRPr>
            </a:lvl1pPr>
          </a:lstStyle>
          <a:p>
            <a:fld id="{7749CDD0-7D77-4D23-9A27-F361E39BA472}" type="datetime1">
              <a:rPr lang="nl-BE" smtClean="0"/>
              <a:pPr/>
              <a:t>8/07/2024</a:t>
            </a:fld>
            <a:r>
              <a:rPr lang="nl-BE"/>
              <a:t> </a:t>
            </a:r>
            <a:r>
              <a:rPr lang="nl-BE" b="1"/>
              <a:t>│</a:t>
            </a:r>
            <a:fld id="{B263F6C6-2226-4286-8995-C42CB1E7C290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12" name="Rechthoek 11"/>
          <p:cNvSpPr/>
          <p:nvPr userDrawn="1"/>
        </p:nvSpPr>
        <p:spPr>
          <a:xfrm>
            <a:off x="1" y="0"/>
            <a:ext cx="282207" cy="5143500"/>
          </a:xfrm>
          <a:prstGeom prst="rect">
            <a:avLst/>
          </a:prstGeom>
          <a:solidFill>
            <a:srgbClr val="D26E25"/>
          </a:solidFill>
          <a:ln>
            <a:solidFill>
              <a:srgbClr val="D26E2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>
              <a:latin typeface="FlandersArtSans-Regular" panose="00000500000000000000" pitchFamily="2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1CD79B6-0141-6B3D-5BF4-81DD687E50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6942" y="4544299"/>
            <a:ext cx="759058" cy="35771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87A2C97-7CF8-C10E-C38E-CC999BC50D6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65005" y="216000"/>
            <a:ext cx="1821067" cy="70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74853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57585" y="1277897"/>
            <a:ext cx="41526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38675" y="1277897"/>
            <a:ext cx="41526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52425" y="3048880"/>
            <a:ext cx="41526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38675" y="3048880"/>
            <a:ext cx="41526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57585" y="1410160"/>
            <a:ext cx="1587600" cy="11934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53073" y="1410159"/>
            <a:ext cx="1587600" cy="11934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61334" y="3192158"/>
            <a:ext cx="1587600" cy="11934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53073" y="3192158"/>
            <a:ext cx="1587600" cy="11934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130585" y="1410160"/>
            <a:ext cx="2379600" cy="1458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413007" y="1410160"/>
            <a:ext cx="2378268" cy="1458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101913" y="3192160"/>
            <a:ext cx="2379600" cy="1458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411675" y="3192159"/>
            <a:ext cx="2379600" cy="1458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122504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2426" y="1275160"/>
            <a:ext cx="2720579" cy="1539623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9" y="1275162"/>
            <a:ext cx="2729487" cy="1544324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2" y="1275161"/>
            <a:ext cx="2727722" cy="154332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52426" y="2874169"/>
            <a:ext cx="2720579" cy="1636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2874168"/>
            <a:ext cx="2727722" cy="16400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9" y="2874170"/>
            <a:ext cx="2729487" cy="16410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690095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2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382975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301941"/>
            <a:ext cx="8439150" cy="2505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393421"/>
            <a:ext cx="4158000" cy="1271588"/>
          </a:xfrm>
        </p:spPr>
        <p:txBody>
          <a:bodyPr/>
          <a:lstStyle>
            <a:lvl1pPr>
              <a:spcAft>
                <a:spcPts val="75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297" indent="-132297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293" indent="-132297">
              <a:spcAft>
                <a:spcPts val="750"/>
              </a:spcAft>
              <a:defRPr baseline="0"/>
            </a:lvl5pPr>
            <a:lvl6pPr marL="267293" indent="-132297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293" indent="-132297">
              <a:spcAft>
                <a:spcPts val="750"/>
              </a:spcAft>
              <a:defRPr/>
            </a:lvl7pPr>
            <a:lvl8pPr marL="267293" indent="-132297">
              <a:spcAft>
                <a:spcPts val="750"/>
              </a:spcAft>
              <a:defRPr/>
            </a:lvl8pPr>
            <a:lvl9pPr marL="267293" indent="-132297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393421"/>
            <a:ext cx="4158000" cy="1271588"/>
          </a:xfrm>
        </p:spPr>
        <p:txBody>
          <a:bodyPr/>
          <a:lstStyle>
            <a:lvl1pPr>
              <a:spcAft>
                <a:spcPts val="75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297" indent="-132297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293" indent="-132297">
              <a:spcAft>
                <a:spcPts val="750"/>
              </a:spcAft>
              <a:defRPr baseline="0"/>
            </a:lvl5pPr>
            <a:lvl6pPr marL="267293" indent="-132297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293" indent="-132297">
              <a:spcAft>
                <a:spcPts val="750"/>
              </a:spcAft>
              <a:defRPr/>
            </a:lvl7pPr>
            <a:lvl8pPr marL="267293" indent="-132297">
              <a:spcAft>
                <a:spcPts val="750"/>
              </a:spcAft>
              <a:defRPr/>
            </a:lvl8pPr>
            <a:lvl9pPr marL="267293" indent="-132297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52424" y="1279034"/>
            <a:ext cx="4158000" cy="397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279034"/>
            <a:ext cx="4158000" cy="397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8" y="1393421"/>
            <a:ext cx="933121" cy="411956"/>
          </a:xfrm>
        </p:spPr>
        <p:txBody>
          <a:bodyPr/>
          <a:lstStyle>
            <a:lvl1pPr marL="0" marR="0" indent="0" algn="l" defTabSz="685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7" y="1397940"/>
            <a:ext cx="933680" cy="411956"/>
          </a:xfrm>
        </p:spPr>
        <p:txBody>
          <a:bodyPr/>
          <a:lstStyle>
            <a:lvl1pPr marL="0" marR="0" indent="0" algn="l" defTabSz="685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3831222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393421"/>
            <a:ext cx="4158000" cy="1271588"/>
          </a:xfrm>
        </p:spPr>
        <p:txBody>
          <a:bodyPr>
            <a:noAutofit/>
          </a:bodyPr>
          <a:lstStyle>
            <a:lvl1pPr>
              <a:spcAft>
                <a:spcPts val="75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297" indent="-132297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293" indent="-132297">
              <a:spcAft>
                <a:spcPts val="750"/>
              </a:spcAft>
              <a:defRPr baseline="0"/>
            </a:lvl5pPr>
            <a:lvl6pPr marL="267293" indent="-132297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293" indent="-132297">
              <a:spcAft>
                <a:spcPts val="750"/>
              </a:spcAft>
              <a:defRPr/>
            </a:lvl7pPr>
            <a:lvl8pPr marL="267293" indent="-132297">
              <a:spcAft>
                <a:spcPts val="750"/>
              </a:spcAft>
              <a:defRPr/>
            </a:lvl8pPr>
            <a:lvl9pPr marL="267293" indent="-132297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393421"/>
            <a:ext cx="4158000" cy="1271588"/>
          </a:xfrm>
        </p:spPr>
        <p:txBody>
          <a:bodyPr>
            <a:noAutofit/>
          </a:bodyPr>
          <a:lstStyle>
            <a:lvl1pPr>
              <a:spcAft>
                <a:spcPts val="75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297" indent="-132297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293" indent="-132297">
              <a:spcAft>
                <a:spcPts val="750"/>
              </a:spcAft>
              <a:defRPr baseline="0"/>
            </a:lvl5pPr>
            <a:lvl6pPr marL="267293" indent="-132297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293" indent="-132297">
              <a:spcAft>
                <a:spcPts val="750"/>
              </a:spcAft>
              <a:defRPr/>
            </a:lvl7pPr>
            <a:lvl8pPr marL="267293" indent="-132297">
              <a:spcAft>
                <a:spcPts val="750"/>
              </a:spcAft>
              <a:defRPr/>
            </a:lvl8pPr>
            <a:lvl9pPr marL="267293" indent="-132297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52424" y="1279034"/>
            <a:ext cx="4158000" cy="397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279034"/>
            <a:ext cx="4158000" cy="397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8" y="1393421"/>
            <a:ext cx="933121" cy="411956"/>
          </a:xfrm>
        </p:spPr>
        <p:txBody>
          <a:bodyPr>
            <a:noAutofit/>
          </a:bodyPr>
          <a:lstStyle>
            <a:lvl1pPr marL="0" marR="0" indent="0" algn="l" defTabSz="685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52424" y="3187263"/>
            <a:ext cx="4158000" cy="1271588"/>
          </a:xfrm>
        </p:spPr>
        <p:txBody>
          <a:bodyPr>
            <a:noAutofit/>
          </a:bodyPr>
          <a:lstStyle>
            <a:lvl1pPr>
              <a:spcAft>
                <a:spcPts val="75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297" indent="-132297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293" indent="-132297">
              <a:spcAft>
                <a:spcPts val="750"/>
              </a:spcAft>
              <a:defRPr baseline="0"/>
            </a:lvl5pPr>
            <a:lvl6pPr marL="267293" indent="-132297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293" indent="-132297">
              <a:spcAft>
                <a:spcPts val="750"/>
              </a:spcAft>
              <a:defRPr/>
            </a:lvl7pPr>
            <a:lvl8pPr marL="267293" indent="-132297">
              <a:spcAft>
                <a:spcPts val="750"/>
              </a:spcAft>
              <a:defRPr/>
            </a:lvl8pPr>
            <a:lvl9pPr marL="267293" indent="-132297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3187263"/>
            <a:ext cx="4158000" cy="1271588"/>
          </a:xfrm>
        </p:spPr>
        <p:txBody>
          <a:bodyPr>
            <a:noAutofit/>
          </a:bodyPr>
          <a:lstStyle>
            <a:lvl1pPr>
              <a:spcAft>
                <a:spcPts val="75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297" indent="-132297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293" indent="-132297">
              <a:spcAft>
                <a:spcPts val="750"/>
              </a:spcAft>
              <a:defRPr baseline="0"/>
            </a:lvl5pPr>
            <a:lvl6pPr marL="267293" indent="-132297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293" indent="-132297">
              <a:spcAft>
                <a:spcPts val="750"/>
              </a:spcAft>
              <a:defRPr/>
            </a:lvl7pPr>
            <a:lvl8pPr marL="267293" indent="-132297">
              <a:spcAft>
                <a:spcPts val="750"/>
              </a:spcAft>
              <a:defRPr/>
            </a:lvl8pPr>
            <a:lvl9pPr marL="267293" indent="-132297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52424" y="3077639"/>
            <a:ext cx="41580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3077639"/>
            <a:ext cx="41580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750"/>
              </a:spcAft>
            </a:pPr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8" y="3187264"/>
            <a:ext cx="956187" cy="411956"/>
          </a:xfrm>
        </p:spPr>
        <p:txBody>
          <a:bodyPr>
            <a:noAutofit/>
          </a:bodyPr>
          <a:lstStyle>
            <a:lvl1pPr marL="0" marR="0" indent="0" algn="l" defTabSz="685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3186159"/>
            <a:ext cx="933120" cy="411956"/>
          </a:xfrm>
        </p:spPr>
        <p:txBody>
          <a:bodyPr>
            <a:noAutofit/>
          </a:bodyPr>
          <a:lstStyle>
            <a:lvl1pPr marL="0" marR="0" indent="0" algn="l" defTabSz="685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7" y="1397940"/>
            <a:ext cx="933680" cy="411956"/>
          </a:xfrm>
        </p:spPr>
        <p:txBody>
          <a:bodyPr>
            <a:noAutofit/>
          </a:bodyPr>
          <a:lstStyle>
            <a:lvl1pPr marL="0" marR="0" indent="0" algn="l" defTabSz="685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177729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279476"/>
            <a:ext cx="2727722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6" y="1279476"/>
            <a:ext cx="2720579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3" y="1279476"/>
            <a:ext cx="2721769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388581"/>
            <a:ext cx="2727722" cy="288431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297" indent="-132297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293" indent="-132297">
              <a:spcAft>
                <a:spcPts val="750"/>
              </a:spcAft>
              <a:defRPr baseline="0"/>
            </a:lvl5pPr>
            <a:lvl6pPr marL="267293" indent="-132297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293" indent="-132297">
              <a:spcAft>
                <a:spcPts val="750"/>
              </a:spcAft>
              <a:defRPr/>
            </a:lvl7pPr>
            <a:lvl8pPr marL="267293" indent="-132297">
              <a:spcAft>
                <a:spcPts val="750"/>
              </a:spcAft>
              <a:defRPr/>
            </a:lvl8pPr>
            <a:lvl9pPr marL="267293" indent="-132297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6" y="1388581"/>
            <a:ext cx="2720579" cy="288431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297" indent="-132297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293" indent="-132297">
              <a:spcAft>
                <a:spcPts val="750"/>
              </a:spcAft>
              <a:defRPr baseline="0"/>
            </a:lvl5pPr>
            <a:lvl6pPr marL="267293" indent="-132297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293" indent="-132297">
              <a:spcAft>
                <a:spcPts val="750"/>
              </a:spcAft>
              <a:defRPr/>
            </a:lvl7pPr>
            <a:lvl8pPr marL="267293" indent="-132297">
              <a:spcAft>
                <a:spcPts val="750"/>
              </a:spcAft>
              <a:defRPr/>
            </a:lvl8pPr>
            <a:lvl9pPr marL="267293" indent="-132297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8" y="1388581"/>
            <a:ext cx="2721769" cy="288431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297" indent="-132297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293" indent="-132297">
              <a:spcAft>
                <a:spcPts val="750"/>
              </a:spcAft>
              <a:defRPr baseline="0"/>
            </a:lvl5pPr>
            <a:lvl6pPr marL="267293" indent="-132297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293" indent="-132297">
              <a:spcAft>
                <a:spcPts val="750"/>
              </a:spcAft>
              <a:defRPr/>
            </a:lvl7pPr>
            <a:lvl8pPr marL="267293" indent="-132297">
              <a:spcAft>
                <a:spcPts val="750"/>
              </a:spcAft>
              <a:defRPr/>
            </a:lvl8pPr>
            <a:lvl9pPr marL="267293" indent="-132297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097050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5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297" indent="-132297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293" indent="-132297">
              <a:spcAft>
                <a:spcPts val="750"/>
              </a:spcAft>
              <a:defRPr baseline="0"/>
            </a:lvl5pPr>
            <a:lvl6pPr marL="267293" indent="-132297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293" indent="-132297">
              <a:spcAft>
                <a:spcPts val="750"/>
              </a:spcAft>
              <a:defRPr/>
            </a:lvl7pPr>
            <a:lvl8pPr marL="267293" indent="-132297">
              <a:spcAft>
                <a:spcPts val="750"/>
              </a:spcAft>
              <a:defRPr/>
            </a:lvl8pPr>
            <a:lvl9pPr marL="267293" indent="-132297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297" indent="-132297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293" indent="-132297">
              <a:spcAft>
                <a:spcPts val="750"/>
              </a:spcAft>
              <a:defRPr baseline="0"/>
            </a:lvl5pPr>
            <a:lvl6pPr marL="267293" indent="-132297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293" indent="-132297">
              <a:spcAft>
                <a:spcPts val="750"/>
              </a:spcAft>
              <a:defRPr/>
            </a:lvl7pPr>
            <a:lvl8pPr marL="267293" indent="-132297">
              <a:spcAft>
                <a:spcPts val="750"/>
              </a:spcAft>
              <a:defRPr/>
            </a:lvl8pPr>
            <a:lvl9pPr marL="267293" indent="-132297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5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297" indent="-132297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293" indent="-132297">
              <a:spcAft>
                <a:spcPts val="750"/>
              </a:spcAft>
              <a:defRPr baseline="0"/>
            </a:lvl5pPr>
            <a:lvl6pPr marL="267293" indent="-132297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293" indent="-132297">
              <a:spcAft>
                <a:spcPts val="750"/>
              </a:spcAft>
              <a:defRPr/>
            </a:lvl7pPr>
            <a:lvl8pPr marL="267293" indent="-132297">
              <a:spcAft>
                <a:spcPts val="750"/>
              </a:spcAft>
              <a:defRPr/>
            </a:lvl8pPr>
            <a:lvl9pPr marL="267293" indent="-132297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297" indent="-132297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293" indent="-132297">
              <a:spcAft>
                <a:spcPts val="750"/>
              </a:spcAft>
              <a:defRPr baseline="0"/>
            </a:lvl5pPr>
            <a:lvl6pPr marL="267293" indent="-132297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293" indent="-132297">
              <a:spcAft>
                <a:spcPts val="750"/>
              </a:spcAft>
              <a:defRPr/>
            </a:lvl7pPr>
            <a:lvl8pPr marL="267293" indent="-132297">
              <a:spcAft>
                <a:spcPts val="750"/>
              </a:spcAft>
              <a:defRPr/>
            </a:lvl8pPr>
            <a:lvl9pPr marL="267293" indent="-132297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562488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7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75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750"/>
              </a:spcAft>
              <a:buNone/>
              <a:defRPr>
                <a:solidFill>
                  <a:schemeClr val="bg1"/>
                </a:solidFill>
              </a:defRPr>
            </a:lvl3pPr>
            <a:lvl4pPr marL="132297" indent="-132297">
              <a:spcAft>
                <a:spcPts val="75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267293" indent="-132297">
              <a:spcAft>
                <a:spcPts val="750"/>
              </a:spcAft>
              <a:defRPr baseline="0">
                <a:solidFill>
                  <a:schemeClr val="bg1"/>
                </a:solidFill>
              </a:defRPr>
            </a:lvl5pPr>
            <a:lvl6pPr marL="267293" indent="-132297">
              <a:spcAft>
                <a:spcPts val="75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267293" indent="-132297">
              <a:spcAft>
                <a:spcPts val="750"/>
              </a:spcAft>
              <a:defRPr>
                <a:solidFill>
                  <a:schemeClr val="bg1"/>
                </a:solidFill>
              </a:defRPr>
            </a:lvl7pPr>
            <a:lvl8pPr marL="267293" indent="-132297">
              <a:spcAft>
                <a:spcPts val="750"/>
              </a:spcAft>
              <a:defRPr>
                <a:solidFill>
                  <a:schemeClr val="bg1"/>
                </a:solidFill>
              </a:defRPr>
            </a:lvl8pPr>
            <a:lvl9pPr marL="267293" indent="-132297">
              <a:spcAft>
                <a:spcPts val="75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75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750"/>
              </a:spcAft>
              <a:buNone/>
              <a:defRPr>
                <a:solidFill>
                  <a:schemeClr val="bg1"/>
                </a:solidFill>
              </a:defRPr>
            </a:lvl3pPr>
            <a:lvl4pPr marL="132297" indent="-132297">
              <a:spcAft>
                <a:spcPts val="75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267293" indent="-132297">
              <a:spcAft>
                <a:spcPts val="750"/>
              </a:spcAft>
              <a:defRPr baseline="0">
                <a:solidFill>
                  <a:schemeClr val="bg1"/>
                </a:solidFill>
              </a:defRPr>
            </a:lvl5pPr>
            <a:lvl6pPr marL="267293" indent="-132297">
              <a:spcAft>
                <a:spcPts val="75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267293" indent="-132297">
              <a:spcAft>
                <a:spcPts val="750"/>
              </a:spcAft>
              <a:defRPr>
                <a:solidFill>
                  <a:schemeClr val="bg1"/>
                </a:solidFill>
              </a:defRPr>
            </a:lvl7pPr>
            <a:lvl8pPr marL="267293" indent="-132297">
              <a:spcAft>
                <a:spcPts val="750"/>
              </a:spcAft>
              <a:defRPr>
                <a:solidFill>
                  <a:schemeClr val="bg1"/>
                </a:solidFill>
              </a:defRPr>
            </a:lvl8pPr>
            <a:lvl9pPr marL="267293" indent="-132297">
              <a:spcAft>
                <a:spcPts val="75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6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75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750"/>
              </a:spcAft>
              <a:buNone/>
              <a:defRPr>
                <a:solidFill>
                  <a:schemeClr val="bg1"/>
                </a:solidFill>
              </a:defRPr>
            </a:lvl3pPr>
            <a:lvl4pPr marL="132297" indent="-132297">
              <a:spcAft>
                <a:spcPts val="75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267293" indent="-132297">
              <a:spcAft>
                <a:spcPts val="750"/>
              </a:spcAft>
              <a:defRPr baseline="0">
                <a:solidFill>
                  <a:schemeClr val="bg1"/>
                </a:solidFill>
              </a:defRPr>
            </a:lvl5pPr>
            <a:lvl6pPr marL="267293" indent="-132297">
              <a:spcAft>
                <a:spcPts val="75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267293" indent="-132297">
              <a:spcAft>
                <a:spcPts val="750"/>
              </a:spcAft>
              <a:defRPr>
                <a:solidFill>
                  <a:schemeClr val="bg1"/>
                </a:solidFill>
              </a:defRPr>
            </a:lvl7pPr>
            <a:lvl8pPr marL="267293" indent="-132297">
              <a:spcAft>
                <a:spcPts val="750"/>
              </a:spcAft>
              <a:defRPr>
                <a:solidFill>
                  <a:schemeClr val="bg1"/>
                </a:solidFill>
              </a:defRPr>
            </a:lvl8pPr>
            <a:lvl9pPr marL="267293" indent="-132297">
              <a:spcAft>
                <a:spcPts val="75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75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750"/>
              </a:spcAft>
              <a:buNone/>
              <a:defRPr>
                <a:solidFill>
                  <a:schemeClr val="bg1"/>
                </a:solidFill>
              </a:defRPr>
            </a:lvl3pPr>
            <a:lvl4pPr marL="132297" indent="-132297">
              <a:spcAft>
                <a:spcPts val="75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267293" indent="-132297">
              <a:spcAft>
                <a:spcPts val="750"/>
              </a:spcAft>
              <a:defRPr baseline="0">
                <a:solidFill>
                  <a:schemeClr val="bg1"/>
                </a:solidFill>
              </a:defRPr>
            </a:lvl5pPr>
            <a:lvl6pPr marL="267293" indent="-132297">
              <a:spcAft>
                <a:spcPts val="75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267293" indent="-132297">
              <a:spcAft>
                <a:spcPts val="750"/>
              </a:spcAft>
              <a:defRPr>
                <a:solidFill>
                  <a:schemeClr val="bg1"/>
                </a:solidFill>
              </a:defRPr>
            </a:lvl7pPr>
            <a:lvl8pPr marL="267293" indent="-132297">
              <a:spcAft>
                <a:spcPts val="750"/>
              </a:spcAft>
              <a:defRPr>
                <a:solidFill>
                  <a:schemeClr val="bg1"/>
                </a:solidFill>
              </a:defRPr>
            </a:lvl8pPr>
            <a:lvl9pPr marL="267293" indent="-132297">
              <a:spcAft>
                <a:spcPts val="75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751388" y="4857753"/>
            <a:ext cx="3672420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Presentation title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76241" y="4857752"/>
            <a:ext cx="4016375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5" y="4857753"/>
            <a:ext cx="230981" cy="562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366" noProof="0" smtClean="0">
                <a:solidFill>
                  <a:schemeClr val="bg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366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488608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50838" y="1249364"/>
            <a:ext cx="4153298" cy="3475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519071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301941"/>
            <a:ext cx="8439150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45719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220932-5C34-0F45-A06D-6E391DB56D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0860" y="110610"/>
            <a:ext cx="4922279" cy="492227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4C2FBE2-538B-4D4E-9558-1CE51833AF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86072" y="216000"/>
            <a:ext cx="1800000" cy="70169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6A78435-BFFA-DA5D-DE6F-61597EF3E2E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6326" y="4480983"/>
            <a:ext cx="759058" cy="35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71963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545400"/>
            <a:ext cx="5400000" cy="405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4398173"/>
            <a:ext cx="4194008" cy="3792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bg1"/>
                </a:solidFill>
              </a:defRPr>
            </a:lvl1pPr>
            <a:lvl2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2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title style</a:t>
            </a:r>
          </a:p>
          <a:p>
            <a:pPr marL="0" marR="0" lvl="1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4786312"/>
            <a:ext cx="4195762" cy="223838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283500"/>
            <a:ext cx="1620000" cy="23098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23" name="Rectangle 22"/>
          <p:cNvSpPr/>
          <p:nvPr userDrawn="1"/>
        </p:nvSpPr>
        <p:spPr bwMode="gray">
          <a:xfrm>
            <a:off x="4145693" y="4770976"/>
            <a:ext cx="4546600" cy="26035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marL="0" marR="0" lvl="0" indent="0" algn="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nl-BE" sz="4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ransitiebegeleiding voor de bestuurlijke optimalisatie centrale diensten en scholengroepen van het GO!</a:t>
            </a:r>
            <a:endParaRPr kumimoji="0" lang="en-US" sz="4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274070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545400"/>
            <a:ext cx="5400000" cy="405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4398173"/>
            <a:ext cx="4195761" cy="3792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4786312"/>
            <a:ext cx="4195762" cy="223838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283500"/>
            <a:ext cx="1620000" cy="230982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19" name="Rectangle 18"/>
          <p:cNvSpPr/>
          <p:nvPr userDrawn="1"/>
        </p:nvSpPr>
        <p:spPr bwMode="gray">
          <a:xfrm>
            <a:off x="4145693" y="4770976"/>
            <a:ext cx="4546600" cy="26035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r">
              <a:buSzPct val="100000"/>
            </a:pPr>
            <a:r>
              <a:rPr lang="nl-BE" sz="450"/>
              <a:t>Transitiebegeleiding voor de bestuurlijke optimalisatie centrale diensten en scholengroepen van het GO!</a:t>
            </a:r>
            <a:endParaRPr lang="en-US" sz="450"/>
          </a:p>
        </p:txBody>
      </p:sp>
    </p:spTree>
    <p:extLst>
      <p:ext uri="{BB962C8B-B14F-4D97-AF65-F5344CB8AC3E}">
        <p14:creationId xmlns:p14="http://schemas.microsoft.com/office/powerpoint/2010/main" val="3235319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026000"/>
            <a:ext cx="4140000" cy="3105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150"/>
              </a:lnSpc>
              <a:defRPr sz="27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4398173"/>
            <a:ext cx="4194008" cy="3792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4786312"/>
            <a:ext cx="4195762" cy="223838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283500"/>
            <a:ext cx="1620000" cy="23098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22" name="Rectangle 21"/>
          <p:cNvSpPr/>
          <p:nvPr userDrawn="1"/>
        </p:nvSpPr>
        <p:spPr bwMode="gray">
          <a:xfrm>
            <a:off x="4145693" y="4770976"/>
            <a:ext cx="4546600" cy="26035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r">
              <a:buSzPct val="100000"/>
            </a:pPr>
            <a:r>
              <a:rPr lang="nl-BE" sz="450"/>
              <a:t>Transitiebegeleiding voor de bestuurlijke optimalisatie centrale diensten en scholengroepen van het GO!</a:t>
            </a:r>
            <a:endParaRPr lang="en-US" sz="450"/>
          </a:p>
        </p:txBody>
      </p:sp>
    </p:spTree>
    <p:extLst>
      <p:ext uri="{BB962C8B-B14F-4D97-AF65-F5344CB8AC3E}">
        <p14:creationId xmlns:p14="http://schemas.microsoft.com/office/powerpoint/2010/main" val="5161249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026000"/>
            <a:ext cx="4140000" cy="3105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150"/>
              </a:lnSpc>
              <a:defRPr sz="27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4398173"/>
            <a:ext cx="4195761" cy="3792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4786312"/>
            <a:ext cx="4195762" cy="223838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283500"/>
            <a:ext cx="1620000" cy="230982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19" name="Rectangle 18"/>
          <p:cNvSpPr/>
          <p:nvPr userDrawn="1"/>
        </p:nvSpPr>
        <p:spPr bwMode="gray">
          <a:xfrm>
            <a:off x="4145693" y="4770976"/>
            <a:ext cx="4546600" cy="26035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r">
              <a:buSzPct val="100000"/>
            </a:pPr>
            <a:r>
              <a:rPr lang="nl-BE" sz="450"/>
              <a:t>Transitiebegeleiding voor de bestuurlijke optimalisatie centrale diensten en scholengroepen van het GO!</a:t>
            </a:r>
            <a:endParaRPr lang="en-US" sz="450"/>
          </a:p>
        </p:txBody>
      </p:sp>
    </p:spTree>
    <p:extLst>
      <p:ext uri="{BB962C8B-B14F-4D97-AF65-F5344CB8AC3E}">
        <p14:creationId xmlns:p14="http://schemas.microsoft.com/office/powerpoint/2010/main" val="2391476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279253"/>
            <a:ext cx="7905750" cy="1194302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2571750"/>
            <a:ext cx="7905750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9" y="485775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  <a:buFont typeface="Arial"/>
              <a:buNone/>
            </a:pPr>
            <a:r>
              <a:rPr lang="en-US" sz="488">
                <a:solidFill>
                  <a:prstClr val="white"/>
                </a:solidFill>
              </a:rPr>
              <a:t>© 2019 Deloitte Belgium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3" y="485775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white"/>
                </a:solidFill>
              </a:rPr>
              <a:pPr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48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894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279253"/>
            <a:ext cx="7905750" cy="1194302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9" y="2571750"/>
            <a:ext cx="7908050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76239" y="485775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  <a:buFont typeface="Arial"/>
              <a:buNone/>
            </a:pPr>
            <a:r>
              <a:rPr lang="en-US" sz="488">
                <a:solidFill>
                  <a:prstClr val="white"/>
                </a:solidFill>
              </a:rPr>
              <a:t>© 2019 Deloitte Belgium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3" y="485775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white"/>
                </a:solidFill>
              </a:rPr>
              <a:pPr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48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039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279253"/>
            <a:ext cx="7905750" cy="1194302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2571750"/>
            <a:ext cx="7905750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9" y="485775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  <a:buFont typeface="Arial"/>
              <a:buNone/>
            </a:pPr>
            <a:r>
              <a:rPr lang="en-US" sz="488">
                <a:solidFill>
                  <a:prstClr val="white"/>
                </a:solidFill>
              </a:rPr>
              <a:t>© 2019 Deloitte Belgium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485775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white"/>
                </a:solidFill>
              </a:rPr>
              <a:pPr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48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020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279253"/>
            <a:ext cx="7905750" cy="1194302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2571750"/>
            <a:ext cx="7905750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4857751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488">
                <a:solidFill>
                  <a:prstClr val="white"/>
                </a:solidFill>
              </a:rPr>
              <a:t>Presentation title</a:t>
            </a:r>
            <a:br>
              <a:rPr lang="en-US" sz="488">
                <a:solidFill>
                  <a:prstClr val="white"/>
                </a:solidFill>
              </a:rPr>
            </a:br>
            <a:r>
              <a:rPr lang="en-US" sz="488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9" y="485775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  <a:buFont typeface="Arial"/>
              <a:buNone/>
            </a:pPr>
            <a:r>
              <a:rPr lang="en-US" sz="488">
                <a:solidFill>
                  <a:prstClr val="white"/>
                </a:solidFill>
              </a:rPr>
              <a:t>© 2017 Deloitte Belgium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485775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white"/>
                </a:solidFill>
              </a:rPr>
              <a:pPr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48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419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279253"/>
            <a:ext cx="7905750" cy="1194302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2571750"/>
            <a:ext cx="7905750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4857751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488">
                <a:solidFill>
                  <a:prstClr val="white"/>
                </a:solidFill>
              </a:rPr>
              <a:t>Presentation title</a:t>
            </a:r>
            <a:br>
              <a:rPr lang="en-US" sz="488">
                <a:solidFill>
                  <a:prstClr val="white"/>
                </a:solidFill>
              </a:rPr>
            </a:br>
            <a:r>
              <a:rPr lang="en-US" sz="488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9" y="485775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  <a:buFont typeface="Arial"/>
              <a:buNone/>
            </a:pPr>
            <a:r>
              <a:rPr lang="en-US" sz="488">
                <a:solidFill>
                  <a:prstClr val="white"/>
                </a:solidFill>
              </a:rPr>
              <a:t>© 2017 Deloitte Belgium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485775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white"/>
                </a:solidFill>
              </a:rPr>
              <a:pPr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48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444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279253"/>
            <a:ext cx="7905750" cy="1194302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2571750"/>
            <a:ext cx="7905750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933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>
            <a:extLst>
              <a:ext uri="{FF2B5EF4-FFF2-40B4-BE49-F238E27FC236}">
                <a16:creationId xmlns:a16="http://schemas.microsoft.com/office/drawing/2014/main" id="{4D4F39EE-8F0A-2147-8DB7-FC9B4841CECD}"/>
              </a:ext>
            </a:extLst>
          </p:cNvPr>
          <p:cNvSpPr/>
          <p:nvPr userDrawn="1"/>
        </p:nvSpPr>
        <p:spPr>
          <a:xfrm>
            <a:off x="0" y="-1"/>
            <a:ext cx="6678246" cy="5143501"/>
          </a:xfrm>
          <a:custGeom>
            <a:avLst/>
            <a:gdLst>
              <a:gd name="connsiteX0" fmla="*/ 2005238 w 6678246"/>
              <a:gd name="connsiteY0" fmla="*/ 0 h 5143501"/>
              <a:gd name="connsiteX1" fmla="*/ 6678246 w 6678246"/>
              <a:gd name="connsiteY1" fmla="*/ 0 h 5143501"/>
              <a:gd name="connsiteX2" fmla="*/ 3728037 w 6678246"/>
              <a:gd name="connsiteY2" fmla="*/ 5143501 h 5143501"/>
              <a:gd name="connsiteX3" fmla="*/ 2106246 w 6678246"/>
              <a:gd name="connsiteY3" fmla="*/ 5143501 h 5143501"/>
              <a:gd name="connsiteX4" fmla="*/ 0 w 6678246"/>
              <a:gd name="connsiteY4" fmla="*/ 5143501 h 5143501"/>
              <a:gd name="connsiteX5" fmla="*/ 0 w 6678246"/>
              <a:gd name="connsiteY5" fmla="*/ 1 h 5143501"/>
              <a:gd name="connsiteX6" fmla="*/ 2005238 w 6678246"/>
              <a:gd name="connsiteY6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78246" h="5143501">
                <a:moveTo>
                  <a:pt x="2005238" y="0"/>
                </a:moveTo>
                <a:lnTo>
                  <a:pt x="6678246" y="0"/>
                </a:lnTo>
                <a:lnTo>
                  <a:pt x="3728037" y="5143501"/>
                </a:lnTo>
                <a:lnTo>
                  <a:pt x="2106246" y="5143501"/>
                </a:lnTo>
                <a:lnTo>
                  <a:pt x="0" y="5143501"/>
                </a:lnTo>
                <a:lnTo>
                  <a:pt x="0" y="1"/>
                </a:lnTo>
                <a:lnTo>
                  <a:pt x="2005238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69815" y="1701383"/>
            <a:ext cx="3816000" cy="1993692"/>
          </a:xfrm>
        </p:spPr>
        <p:txBody>
          <a:bodyPr anchor="b" anchorCtr="0">
            <a:noAutofit/>
          </a:bodyPr>
          <a:lstStyle>
            <a:lvl1pPr algn="r">
              <a:lnSpc>
                <a:spcPts val="3000"/>
              </a:lnSpc>
              <a:defRPr sz="3000" baseline="0">
                <a:solidFill>
                  <a:schemeClr val="tx1"/>
                </a:solidFill>
                <a:latin typeface="+mj-lt"/>
                <a:cs typeface="Calibri"/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969815" y="3807500"/>
            <a:ext cx="3816000" cy="176933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r">
              <a:lnSpc>
                <a:spcPct val="120000"/>
              </a:lnSpc>
              <a:spcBef>
                <a:spcPts val="0"/>
              </a:spcBef>
              <a:buNone/>
              <a:defRPr sz="1185">
                <a:solidFill>
                  <a:schemeClr val="tx1">
                    <a:lumMod val="60000"/>
                    <a:lumOff val="40000"/>
                  </a:schemeClr>
                </a:solidFill>
                <a:latin typeface="FlandersArtSans-Regular" panose="00000500000000000000" pitchFamily="2" charset="0"/>
                <a:cs typeface="Calibri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ken om de ondertitelstijl van het model te bewerken</a:t>
            </a:r>
            <a:endParaRPr lang="nl-B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DE23362-922A-D635-E8F2-211B731BE6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2945" y="887793"/>
            <a:ext cx="2803777" cy="28072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88F2D08-4357-EA09-D887-4B8A818BBA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6326" y="4480983"/>
            <a:ext cx="759058" cy="35771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08E3383-D233-CB0D-0091-DA5AC3C035F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86072" y="216000"/>
            <a:ext cx="1800000" cy="70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87702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221582"/>
            <a:ext cx="6864277" cy="3564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700"/>
              </a:spcBef>
              <a:defRPr sz="2100">
                <a:solidFill>
                  <a:schemeClr val="bg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4857751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488">
                <a:solidFill>
                  <a:prstClr val="white"/>
                </a:solidFill>
              </a:rPr>
              <a:t>Presentation title</a:t>
            </a:r>
            <a:br>
              <a:rPr lang="en-US" sz="488">
                <a:solidFill>
                  <a:prstClr val="white"/>
                </a:solidFill>
              </a:rPr>
            </a:br>
            <a:r>
              <a:rPr lang="en-US" sz="488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9" y="485775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  <a:buFont typeface="Arial"/>
              <a:buNone/>
            </a:pPr>
            <a:r>
              <a:rPr lang="en-US" sz="488">
                <a:solidFill>
                  <a:prstClr val="white"/>
                </a:solidFill>
              </a:rPr>
              <a:t>© 2017 Deloitte Belgium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485775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white"/>
                </a:solidFill>
              </a:rPr>
              <a:pPr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48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61400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220400"/>
            <a:ext cx="6958012" cy="356968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700"/>
              </a:spcBef>
              <a:defRPr sz="2100">
                <a:solidFill>
                  <a:schemeClr val="bg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4857751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488">
                <a:solidFill>
                  <a:prstClr val="white"/>
                </a:solidFill>
              </a:rPr>
              <a:t>Presentation title</a:t>
            </a:r>
            <a:br>
              <a:rPr lang="en-US" sz="488">
                <a:solidFill>
                  <a:prstClr val="white"/>
                </a:solidFill>
              </a:rPr>
            </a:br>
            <a:r>
              <a:rPr lang="en-US" sz="488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9" y="485775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  <a:buFont typeface="Arial"/>
              <a:buNone/>
            </a:pPr>
            <a:r>
              <a:rPr lang="en-US" sz="488">
                <a:solidFill>
                  <a:prstClr val="white"/>
                </a:solidFill>
              </a:rPr>
              <a:t>© 2017 Deloitte Belgium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485775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white"/>
                </a:solidFill>
              </a:rPr>
              <a:pPr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48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85145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221582"/>
            <a:ext cx="6958012" cy="3564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700"/>
              </a:spcBef>
              <a:defRPr sz="2100">
                <a:solidFill>
                  <a:schemeClr val="bg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4857751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488">
                <a:solidFill>
                  <a:prstClr val="white"/>
                </a:solidFill>
              </a:rPr>
              <a:t>Presentation title</a:t>
            </a:r>
            <a:br>
              <a:rPr lang="en-US" sz="488">
                <a:solidFill>
                  <a:prstClr val="white"/>
                </a:solidFill>
              </a:rPr>
            </a:br>
            <a:r>
              <a:rPr lang="en-US" sz="488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9" y="485775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  <a:buFont typeface="Arial"/>
              <a:buNone/>
            </a:pPr>
            <a:r>
              <a:rPr lang="en-US" sz="488">
                <a:solidFill>
                  <a:prstClr val="white"/>
                </a:solidFill>
              </a:rPr>
              <a:t>© 2017 Deloitte Belgium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485775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white"/>
                </a:solidFill>
              </a:rPr>
              <a:pPr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48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33237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221582"/>
            <a:ext cx="6958012" cy="3564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700"/>
              </a:spcBef>
              <a:defRPr sz="2100">
                <a:solidFill>
                  <a:schemeClr val="bg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3" y="485775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white"/>
                </a:solidFill>
              </a:rPr>
              <a:pPr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48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12553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221582"/>
            <a:ext cx="6958012" cy="356473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700"/>
              </a:spcBef>
              <a:defRPr sz="21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89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248967"/>
            <a:ext cx="6958012" cy="3537347"/>
          </a:xfrm>
          <a:prstGeom prst="rect">
            <a:avLst/>
          </a:prstGeom>
        </p:spPr>
        <p:txBody>
          <a:bodyPr/>
          <a:lstStyle>
            <a:lvl1pPr>
              <a:tabLst>
                <a:tab pos="5047060" algn="r"/>
              </a:tabLst>
              <a:defRPr/>
            </a:lvl1pPr>
            <a:lvl2pPr>
              <a:tabLst>
                <a:tab pos="5047060" algn="r"/>
              </a:tabLst>
              <a:defRPr/>
            </a:lvl2pPr>
            <a:lvl3pPr>
              <a:tabLst>
                <a:tab pos="5047060" algn="r"/>
              </a:tabLst>
              <a:defRPr/>
            </a:lvl3pPr>
            <a:lvl4pPr>
              <a:tabLst>
                <a:tab pos="504706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238125"/>
            <a:ext cx="8385174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8233747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238126"/>
            <a:ext cx="8391525" cy="5238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276351"/>
            <a:ext cx="4680000" cy="3509963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248967"/>
            <a:ext cx="3342322" cy="3537347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575554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238126"/>
            <a:ext cx="8391525" cy="523875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248967"/>
            <a:ext cx="8374062" cy="35373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391277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2505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48967"/>
            <a:ext cx="8374062" cy="35354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376237" y="4857750"/>
            <a:ext cx="4016376" cy="1509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450"/>
              </a:spcBef>
              <a:buSzPct val="100000"/>
              <a:buFont typeface="Arial"/>
              <a:buNone/>
            </a:pPr>
            <a:r>
              <a:rPr lang="en-US" sz="488">
                <a:solidFill>
                  <a:prstClr val="black"/>
                </a:solidFill>
              </a:rPr>
              <a:t>© 2017 Deloitte Belgium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8536783" y="4857751"/>
            <a:ext cx="230981" cy="75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black"/>
                </a:solidFill>
              </a:rPr>
              <a:pPr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488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30526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2505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376237" y="4857750"/>
            <a:ext cx="4016376" cy="1509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450"/>
              </a:spcBef>
              <a:buSzPct val="100000"/>
              <a:buFont typeface="Arial"/>
              <a:buNone/>
            </a:pPr>
            <a:r>
              <a:rPr lang="en-US" sz="488">
                <a:solidFill>
                  <a:prstClr val="black"/>
                </a:solidFill>
              </a:rPr>
              <a:t>© 2017 Deloitte Belgium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8536783" y="4857751"/>
            <a:ext cx="230981" cy="75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black"/>
                </a:solidFill>
              </a:rPr>
              <a:pPr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488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50625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CE331D2-AD6A-7444-AB37-F27D0BEA3C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08" t="25976" r="57608" b="61807"/>
          <a:stretch/>
        </p:blipFill>
        <p:spPr>
          <a:xfrm>
            <a:off x="2322576" y="3339717"/>
            <a:ext cx="3061946" cy="23112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54F1305-06A5-024E-9DC0-5C6AF0571A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17" t="25350" r="27015" b="61076"/>
          <a:stretch/>
        </p:blipFill>
        <p:spPr>
          <a:xfrm>
            <a:off x="6565392" y="1601580"/>
            <a:ext cx="2093976" cy="256808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BB0073D-1917-AA4B-86CF-1A7DF0DB51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86" t="52812" r="40484" b="34867"/>
          <a:stretch/>
        </p:blipFill>
        <p:spPr>
          <a:xfrm>
            <a:off x="201168" y="-584527"/>
            <a:ext cx="3713844" cy="2331032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D9130C8E-08BF-A041-B8FA-DE3CE7F601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1815" y="349771"/>
            <a:ext cx="7900370" cy="4443958"/>
          </a:xfrm>
        </p:spPr>
        <p:txBody>
          <a:bodyPr anchor="ctr" anchorCtr="0">
            <a:noAutofit/>
          </a:bodyPr>
          <a:lstStyle>
            <a:lvl1pPr indent="0" algn="ctr">
              <a:lnSpc>
                <a:spcPts val="4050"/>
              </a:lnSpc>
              <a:defRPr sz="4050" b="0" i="0" baseline="0">
                <a:solidFill>
                  <a:schemeClr val="accent5"/>
                </a:solidFill>
                <a:latin typeface="+mj-lt"/>
                <a:cs typeface="Calibri"/>
              </a:defRPr>
            </a:lvl1pPr>
          </a:lstStyle>
          <a:p>
            <a:r>
              <a:rPr lang="nl-NL"/>
              <a:t>Titelstijl van model bewerken</a:t>
            </a:r>
            <a:endParaRPr lang="nl-B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6FCC160-A466-5CB0-E656-B0BD632D20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6326" y="4480983"/>
            <a:ext cx="759058" cy="35771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85B7980-FA96-AD2A-F979-2FA3D486DF9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86072" y="216000"/>
            <a:ext cx="1800000" cy="70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73396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488701"/>
            <a:ext cx="8391525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238125"/>
            <a:ext cx="8391525" cy="2505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40" y="1539000"/>
            <a:ext cx="8391524" cy="305176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40" y="1248967"/>
            <a:ext cx="8391524" cy="29408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4590761"/>
            <a:ext cx="8391525" cy="195553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7" y="4857750"/>
            <a:ext cx="4016376" cy="1509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450"/>
              </a:spcBef>
              <a:buSzPct val="100000"/>
              <a:buFont typeface="Arial"/>
              <a:buNone/>
            </a:pPr>
            <a:r>
              <a:rPr lang="en-US" sz="488">
                <a:solidFill>
                  <a:prstClr val="black"/>
                </a:solidFill>
              </a:rPr>
              <a:t>© 2017 Deloitte Belgium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3" y="4857751"/>
            <a:ext cx="230981" cy="75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black"/>
                </a:solidFill>
              </a:rPr>
              <a:pPr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488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93694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488701"/>
            <a:ext cx="8391525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238125"/>
            <a:ext cx="8391525" cy="2505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1538999"/>
            <a:ext cx="2662162" cy="305176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8" y="1248967"/>
            <a:ext cx="2671763" cy="29408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1538999"/>
            <a:ext cx="2671212" cy="305176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9" y="1248967"/>
            <a:ext cx="2671211" cy="29408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8" y="1538999"/>
            <a:ext cx="2672965" cy="305176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8" y="1244359"/>
            <a:ext cx="2672966" cy="29869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4590761"/>
            <a:ext cx="8374064" cy="195553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339208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238125"/>
            <a:ext cx="8402002" cy="2505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40200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248967"/>
            <a:ext cx="3979184" cy="3537346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5" y="1248967"/>
            <a:ext cx="3992086" cy="3537346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175849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488701"/>
            <a:ext cx="8391525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238125"/>
            <a:ext cx="8391525" cy="250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248967"/>
            <a:ext cx="3979185" cy="3537346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200"/>
            </a:lvl1pPr>
            <a:lvl2pPr>
              <a:tabLst>
                <a:tab pos="3771900" algn="r"/>
              </a:tabLst>
              <a:defRPr sz="1200"/>
            </a:lvl2pPr>
            <a:lvl3pPr>
              <a:tabLst>
                <a:tab pos="3771900" algn="r"/>
              </a:tabLst>
              <a:defRPr sz="1200"/>
            </a:lvl3pPr>
            <a:lvl4pPr>
              <a:tabLst>
                <a:tab pos="3771900" algn="r"/>
              </a:tabLst>
              <a:defRPr sz="1200"/>
            </a:lvl4pPr>
            <a:lvl5pPr>
              <a:tabLst>
                <a:tab pos="3771900" algn="r"/>
              </a:tabLst>
              <a:defRPr baseline="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8000" y="1248967"/>
            <a:ext cx="3979763" cy="3537346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200"/>
            </a:lvl1pPr>
            <a:lvl2pPr>
              <a:tabLst>
                <a:tab pos="3771900" algn="r"/>
              </a:tabLst>
              <a:defRPr sz="1200"/>
            </a:lvl2pPr>
            <a:lvl3pPr>
              <a:tabLst>
                <a:tab pos="3771900" algn="r"/>
              </a:tabLst>
              <a:defRPr sz="1200"/>
            </a:lvl3pPr>
            <a:lvl4pPr>
              <a:tabLst>
                <a:tab pos="3771900" algn="r"/>
              </a:tabLst>
              <a:defRPr sz="1200"/>
            </a:lvl4pPr>
            <a:lvl5pPr>
              <a:tabLst>
                <a:tab pos="3771900" algn="r"/>
              </a:tabLst>
              <a:defRPr baseline="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504099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248967"/>
            <a:ext cx="4016374" cy="3341794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1593760"/>
            <a:ext cx="4011846" cy="2997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248967"/>
            <a:ext cx="4011846" cy="31551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488701"/>
            <a:ext cx="8391525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238125"/>
            <a:ext cx="8391525" cy="2505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4590761"/>
            <a:ext cx="8391525" cy="195553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520666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6" y="1593760"/>
            <a:ext cx="4011847" cy="2997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248967"/>
            <a:ext cx="4011847" cy="31551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488701"/>
            <a:ext cx="8391525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238125"/>
            <a:ext cx="8391525" cy="2505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4590761"/>
            <a:ext cx="8374064" cy="195553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6239" y="1593760"/>
            <a:ext cx="4004297" cy="2997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248967"/>
            <a:ext cx="4004298" cy="31551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167097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40" y="238125"/>
            <a:ext cx="8391524" cy="2505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248967"/>
            <a:ext cx="3323893" cy="3537347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275161"/>
            <a:ext cx="4680000" cy="3511153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488701"/>
            <a:ext cx="8391525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7252538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238125"/>
            <a:ext cx="8391525" cy="250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2" y="1244010"/>
            <a:ext cx="3084351" cy="3542304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248966"/>
            <a:ext cx="4879761" cy="3537347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40" y="488701"/>
            <a:ext cx="8391524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23584630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238125"/>
            <a:ext cx="8391525" cy="250575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275160"/>
            <a:ext cx="2034000" cy="945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275160"/>
            <a:ext cx="2034000" cy="945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275160"/>
            <a:ext cx="2034000" cy="945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275160"/>
            <a:ext cx="2034000" cy="945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8" y="2343150"/>
            <a:ext cx="2040351" cy="244316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32300" indent="-1323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267300" indent="-132300">
              <a:spcAft>
                <a:spcPts val="0"/>
              </a:spcAft>
              <a:defRPr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12472" y="2340414"/>
            <a:ext cx="2034000" cy="24458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32300" indent="-1323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267300" indent="-132300">
              <a:spcAft>
                <a:spcPts val="0"/>
              </a:spcAft>
              <a:defRPr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7530" y="2343150"/>
            <a:ext cx="2034000" cy="244316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32300" indent="-1323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267300" indent="-132300">
              <a:spcAft>
                <a:spcPts val="0"/>
              </a:spcAft>
              <a:defRPr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7" y="2331381"/>
            <a:ext cx="2022887" cy="245493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32300" indent="-1323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267300" indent="-132300">
              <a:spcAft>
                <a:spcPts val="0"/>
              </a:spcAft>
              <a:defRPr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8" y="488701"/>
            <a:ext cx="8391526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0205134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238125"/>
            <a:ext cx="8391525" cy="250575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78000" y="1280380"/>
            <a:ext cx="41220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275160"/>
            <a:ext cx="4106300" cy="4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3048880"/>
            <a:ext cx="41220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3048880"/>
            <a:ext cx="41063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410160"/>
            <a:ext cx="1476000" cy="1107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410160"/>
            <a:ext cx="1476000" cy="1107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3192160"/>
            <a:ext cx="1476000" cy="1107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3192160"/>
            <a:ext cx="1476000" cy="1107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410160"/>
            <a:ext cx="2466000" cy="1458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410160"/>
            <a:ext cx="2476944" cy="1458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3192160"/>
            <a:ext cx="2466000" cy="1458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3192160"/>
            <a:ext cx="2476944" cy="1458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2347187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taf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99A1C9BF-98D1-B133-DD5C-741F84F0ECC0}"/>
              </a:ext>
            </a:extLst>
          </p:cNvPr>
          <p:cNvSpPr/>
          <p:nvPr userDrawn="1"/>
        </p:nvSpPr>
        <p:spPr>
          <a:xfrm flipH="1">
            <a:off x="0" y="0"/>
            <a:ext cx="4505940" cy="5143501"/>
          </a:xfrm>
          <a:custGeom>
            <a:avLst/>
            <a:gdLst>
              <a:gd name="connsiteX0" fmla="*/ 2950209 w 4505940"/>
              <a:gd name="connsiteY0" fmla="*/ 0 h 5143501"/>
              <a:gd name="connsiteX1" fmla="*/ 4505940 w 4505940"/>
              <a:gd name="connsiteY1" fmla="*/ 0 h 5143501"/>
              <a:gd name="connsiteX2" fmla="*/ 4505940 w 4505940"/>
              <a:gd name="connsiteY2" fmla="*/ 5143501 h 5143501"/>
              <a:gd name="connsiteX3" fmla="*/ 0 w 4505940"/>
              <a:gd name="connsiteY3" fmla="*/ 514350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5940" h="5143501">
                <a:moveTo>
                  <a:pt x="2950209" y="0"/>
                </a:moveTo>
                <a:lnTo>
                  <a:pt x="4505940" y="0"/>
                </a:lnTo>
                <a:lnTo>
                  <a:pt x="4505940" y="5143501"/>
                </a:lnTo>
                <a:lnTo>
                  <a:pt x="0" y="514350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7511" y="0"/>
            <a:ext cx="2619446" cy="5143500"/>
          </a:xfrm>
        </p:spPr>
        <p:txBody>
          <a:bodyPr anchor="ctr" anchorCtr="0">
            <a:noAutofit/>
          </a:bodyPr>
          <a:lstStyle>
            <a:lvl1pPr algn="l">
              <a:lnSpc>
                <a:spcPts val="3000"/>
              </a:lnSpc>
              <a:defRPr sz="3000" baseline="0">
                <a:solidFill>
                  <a:schemeClr val="tx1"/>
                </a:solidFill>
                <a:latin typeface="+mj-lt"/>
                <a:cs typeface="Calibri"/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8" name="Ondertitel 2">
            <a:extLst>
              <a:ext uri="{FF2B5EF4-FFF2-40B4-BE49-F238E27FC236}">
                <a16:creationId xmlns:a16="http://schemas.microsoft.com/office/drawing/2014/main" id="{40F52824-D817-314C-A770-A495518E01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0318" y="364067"/>
            <a:ext cx="3610838" cy="4474633"/>
          </a:xfrm>
          <a:prstGeom prst="rect">
            <a:avLst/>
          </a:prstGeom>
          <a:noFill/>
        </p:spPr>
        <p:txBody>
          <a:bodyPr lIns="0" tIns="0" rIns="0" bIns="0" anchor="ctr" anchorCtr="0">
            <a:noAutofit/>
          </a:bodyPr>
          <a:lstStyle>
            <a:lvl1pPr marL="198900" indent="-198900" algn="l">
              <a:lnSpc>
                <a:spcPct val="120000"/>
              </a:lnSpc>
              <a:spcBef>
                <a:spcPts val="0"/>
              </a:spcBef>
              <a:buFont typeface="+mj-lt"/>
              <a:buAutoNum type="arabicPeriod"/>
              <a:defRPr sz="1800">
                <a:solidFill>
                  <a:schemeClr val="tx1"/>
                </a:solidFill>
                <a:latin typeface="FlandersArtSans-Regular" panose="00000500000000000000" pitchFamily="2" charset="0"/>
                <a:cs typeface="Calibri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31486E-DF25-DDA8-D62D-419354C1B3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6326" y="4480983"/>
            <a:ext cx="759058" cy="35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27651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238127"/>
            <a:ext cx="8391525" cy="250574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275161"/>
            <a:ext cx="2771775" cy="1478756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9" y="1275161"/>
            <a:ext cx="2762965" cy="1478756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6" y="1275161"/>
            <a:ext cx="2743200" cy="1478756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9" y="2874169"/>
            <a:ext cx="2762962" cy="1571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0400" y="2874169"/>
            <a:ext cx="2743200" cy="1571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9" y="2874169"/>
            <a:ext cx="2762965" cy="1571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77817759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488701"/>
            <a:ext cx="8391525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238125"/>
            <a:ext cx="8391525" cy="2505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36783" y="4857751"/>
            <a:ext cx="230981" cy="75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black"/>
                </a:solidFill>
              </a:rPr>
              <a:pPr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488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70832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393419"/>
            <a:ext cx="4100118" cy="1271588"/>
          </a:xfrm>
        </p:spPr>
        <p:txBody>
          <a:bodyPr/>
          <a:lstStyle>
            <a:lvl1pPr>
              <a:spcAft>
                <a:spcPts val="75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300" indent="-132300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300" indent="-132300">
              <a:spcAft>
                <a:spcPts val="750"/>
              </a:spcAft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393419"/>
            <a:ext cx="4083117" cy="1271588"/>
          </a:xfrm>
        </p:spPr>
        <p:txBody>
          <a:bodyPr/>
          <a:lstStyle>
            <a:lvl1pPr>
              <a:spcAft>
                <a:spcPts val="75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300" indent="-132300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300" indent="-132300">
              <a:spcAft>
                <a:spcPts val="750"/>
              </a:spcAft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238127"/>
            <a:ext cx="8391525" cy="250574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78000" y="1279034"/>
            <a:ext cx="4100118" cy="397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7" y="1279034"/>
            <a:ext cx="4089718" cy="397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397938"/>
            <a:ext cx="907655" cy="411956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393420"/>
            <a:ext cx="933121" cy="411956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488701"/>
            <a:ext cx="8391525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70558660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393419"/>
            <a:ext cx="4101706" cy="1271588"/>
          </a:xfrm>
        </p:spPr>
        <p:txBody>
          <a:bodyPr/>
          <a:lstStyle>
            <a:lvl1pPr>
              <a:spcAft>
                <a:spcPts val="75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300" indent="-132300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300" indent="-132300">
              <a:spcAft>
                <a:spcPts val="750"/>
              </a:spcAft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393419"/>
            <a:ext cx="4091001" cy="1271588"/>
          </a:xfrm>
        </p:spPr>
        <p:txBody>
          <a:bodyPr/>
          <a:lstStyle>
            <a:lvl1pPr>
              <a:spcAft>
                <a:spcPts val="75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300" indent="-132300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300" indent="-132300">
              <a:spcAft>
                <a:spcPts val="750"/>
              </a:spcAft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238127"/>
            <a:ext cx="8391525" cy="250574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78000" y="1279034"/>
            <a:ext cx="4100118" cy="397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7" y="1279034"/>
            <a:ext cx="4089718" cy="397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393420"/>
            <a:ext cx="933121" cy="411956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78000" y="3187261"/>
            <a:ext cx="4100118" cy="1271588"/>
          </a:xfrm>
        </p:spPr>
        <p:txBody>
          <a:bodyPr/>
          <a:lstStyle>
            <a:lvl1pPr>
              <a:spcAft>
                <a:spcPts val="75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300" indent="-132300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300" indent="-132300">
              <a:spcAft>
                <a:spcPts val="750"/>
              </a:spcAft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3187261"/>
            <a:ext cx="4089719" cy="1271588"/>
          </a:xfrm>
        </p:spPr>
        <p:txBody>
          <a:bodyPr/>
          <a:lstStyle>
            <a:lvl1pPr>
              <a:spcAft>
                <a:spcPts val="75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300" indent="-132300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300" indent="-132300">
              <a:spcAft>
                <a:spcPts val="750"/>
              </a:spcAft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78001" y="3077639"/>
            <a:ext cx="4101707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84646" y="3077639"/>
            <a:ext cx="4083537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65871" y="3191781"/>
            <a:ext cx="929536" cy="411956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18463" y="3187263"/>
            <a:ext cx="933120" cy="411956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98126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397938"/>
            <a:ext cx="907655" cy="411956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>
                <a:solidFill>
                  <a:schemeClr val="bg1"/>
                </a:solidFill>
              </a:rPr>
              <a:t>Co-brand</a:t>
            </a:r>
            <a:br>
              <a:rPr lang="en-US" sz="900" noProof="0">
                <a:solidFill>
                  <a:schemeClr val="bg1"/>
                </a:solidFill>
              </a:rPr>
            </a:br>
            <a:r>
              <a:rPr lang="en-US" sz="9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641383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238127"/>
            <a:ext cx="8391525" cy="250574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279476"/>
            <a:ext cx="2667088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275161"/>
            <a:ext cx="2670000" cy="448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279476"/>
            <a:ext cx="268789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825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4" y="1388581"/>
            <a:ext cx="2655433" cy="288431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300" indent="-132300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300" indent="-132300">
              <a:spcAft>
                <a:spcPts val="750"/>
              </a:spcAft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388581"/>
            <a:ext cx="2670000" cy="288431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300" indent="-132300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300" indent="-132300">
              <a:spcAft>
                <a:spcPts val="750"/>
              </a:spcAft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6000" y="1388581"/>
            <a:ext cx="2678365" cy="288431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300" indent="-132300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300" indent="-132300">
              <a:spcAft>
                <a:spcPts val="750"/>
              </a:spcAft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2503357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238127"/>
            <a:ext cx="8391525" cy="250574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300" indent="-132300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300" indent="-132300">
              <a:spcAft>
                <a:spcPts val="750"/>
              </a:spcAft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300" indent="-132300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300" indent="-132300">
              <a:spcAft>
                <a:spcPts val="750"/>
              </a:spcAft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300" indent="-132300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300" indent="-132300">
              <a:spcAft>
                <a:spcPts val="750"/>
              </a:spcAft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750"/>
              </a:spcAft>
              <a:defRPr/>
            </a:lvl2pPr>
            <a:lvl3pPr marL="0" indent="0">
              <a:spcAft>
                <a:spcPts val="750"/>
              </a:spcAft>
              <a:buNone/>
              <a:defRPr/>
            </a:lvl3pPr>
            <a:lvl4pPr marL="132300" indent="-132300">
              <a:spcAft>
                <a:spcPts val="750"/>
              </a:spcAft>
              <a:buFont typeface="Arial" panose="020B0604020202020204" pitchFamily="34" charset="0"/>
              <a:buChar char="•"/>
              <a:defRPr/>
            </a:lvl4pPr>
            <a:lvl5pPr marL="267300" indent="-132300">
              <a:spcAft>
                <a:spcPts val="750"/>
              </a:spcAft>
              <a:defRPr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488701"/>
            <a:ext cx="8391525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7993601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238125"/>
            <a:ext cx="8391526" cy="27764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75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750"/>
              </a:spcAft>
              <a:buNone/>
              <a:defRPr>
                <a:solidFill>
                  <a:schemeClr val="bg1"/>
                </a:solidFill>
              </a:defRPr>
            </a:lvl3pPr>
            <a:lvl4pPr marL="132300" indent="-132300">
              <a:spcAft>
                <a:spcPts val="75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267300" indent="-132300">
              <a:spcAft>
                <a:spcPts val="750"/>
              </a:spcAft>
              <a:defRPr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267300" indent="-132300">
              <a:spcAft>
                <a:spcPts val="750"/>
              </a:spcAft>
              <a:defRPr>
                <a:solidFill>
                  <a:schemeClr val="bg1"/>
                </a:solidFill>
              </a:defRPr>
            </a:lvl7pPr>
            <a:lvl8pPr marL="267300" indent="-132300">
              <a:spcAft>
                <a:spcPts val="750"/>
              </a:spcAft>
              <a:defRPr>
                <a:solidFill>
                  <a:schemeClr val="bg1"/>
                </a:solidFill>
              </a:defRPr>
            </a:lvl8pPr>
            <a:lvl9pPr marL="267300" indent="-132300">
              <a:spcAft>
                <a:spcPts val="75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5564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75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750"/>
              </a:spcAft>
              <a:buNone/>
              <a:defRPr>
                <a:solidFill>
                  <a:schemeClr val="bg1"/>
                </a:solidFill>
              </a:defRPr>
            </a:lvl3pPr>
            <a:lvl4pPr marL="132300" indent="-132300">
              <a:spcAft>
                <a:spcPts val="75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267300" indent="-132300">
              <a:spcAft>
                <a:spcPts val="750"/>
              </a:spcAft>
              <a:defRPr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267300" indent="-132300">
              <a:spcAft>
                <a:spcPts val="750"/>
              </a:spcAft>
              <a:defRPr>
                <a:solidFill>
                  <a:schemeClr val="bg1"/>
                </a:solidFill>
              </a:defRPr>
            </a:lvl7pPr>
            <a:lvl8pPr marL="267300" indent="-132300">
              <a:spcAft>
                <a:spcPts val="750"/>
              </a:spcAft>
              <a:defRPr>
                <a:solidFill>
                  <a:schemeClr val="bg1"/>
                </a:solidFill>
              </a:defRPr>
            </a:lvl8pPr>
            <a:lvl9pPr marL="267300" indent="-132300">
              <a:spcAft>
                <a:spcPts val="75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7188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75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750"/>
              </a:spcAft>
              <a:buNone/>
              <a:defRPr>
                <a:solidFill>
                  <a:schemeClr val="bg1"/>
                </a:solidFill>
              </a:defRPr>
            </a:lvl3pPr>
            <a:lvl4pPr marL="132300" indent="-132300">
              <a:spcAft>
                <a:spcPts val="75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267300" indent="-132300">
              <a:spcAft>
                <a:spcPts val="750"/>
              </a:spcAft>
              <a:defRPr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267300" indent="-132300">
              <a:spcAft>
                <a:spcPts val="750"/>
              </a:spcAft>
              <a:defRPr>
                <a:solidFill>
                  <a:schemeClr val="bg1"/>
                </a:solidFill>
              </a:defRPr>
            </a:lvl7pPr>
            <a:lvl8pPr marL="267300" indent="-132300">
              <a:spcAft>
                <a:spcPts val="750"/>
              </a:spcAft>
              <a:defRPr>
                <a:solidFill>
                  <a:schemeClr val="bg1"/>
                </a:solidFill>
              </a:defRPr>
            </a:lvl8pPr>
            <a:lvl9pPr marL="267300" indent="-132300">
              <a:spcAft>
                <a:spcPts val="75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6376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75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750"/>
              </a:spcAft>
              <a:buNone/>
              <a:defRPr>
                <a:solidFill>
                  <a:schemeClr val="bg1"/>
                </a:solidFill>
              </a:defRPr>
            </a:lvl3pPr>
            <a:lvl4pPr marL="132300" indent="-132300">
              <a:spcAft>
                <a:spcPts val="75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267300" indent="-132300">
              <a:spcAft>
                <a:spcPts val="750"/>
              </a:spcAft>
              <a:defRPr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267300" indent="-132300">
              <a:spcAft>
                <a:spcPts val="750"/>
              </a:spcAft>
              <a:defRPr>
                <a:solidFill>
                  <a:schemeClr val="bg1"/>
                </a:solidFill>
              </a:defRPr>
            </a:lvl7pPr>
            <a:lvl8pPr marL="267300" indent="-132300">
              <a:spcAft>
                <a:spcPts val="750"/>
              </a:spcAft>
              <a:defRPr>
                <a:solidFill>
                  <a:schemeClr val="bg1"/>
                </a:solidFill>
              </a:defRPr>
            </a:lvl8pPr>
            <a:lvl9pPr marL="267300" indent="-132300">
              <a:spcAft>
                <a:spcPts val="75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515772"/>
            <a:ext cx="8391526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751388" y="4857751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488">
                <a:solidFill>
                  <a:prstClr val="white"/>
                </a:solidFill>
              </a:rPr>
              <a:t>Presentation title</a:t>
            </a:r>
            <a:br>
              <a:rPr lang="en-US" sz="488">
                <a:solidFill>
                  <a:prstClr val="white"/>
                </a:solidFill>
              </a:rPr>
            </a:br>
            <a:r>
              <a:rPr lang="en-US" sz="488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76239" y="4857751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  <a:buFont typeface="Arial"/>
              <a:buNone/>
            </a:pPr>
            <a:r>
              <a:rPr lang="en-US" sz="488">
                <a:solidFill>
                  <a:prstClr val="white"/>
                </a:solidFill>
              </a:rPr>
              <a:t>© 2017 Deloitte Belgium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3" y="485775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white"/>
                </a:solidFill>
              </a:rPr>
              <a:pPr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48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28026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488701"/>
            <a:ext cx="8391525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238125"/>
            <a:ext cx="8391525" cy="2505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8" y="1248967"/>
            <a:ext cx="4195763" cy="35373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417627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487789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275162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166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6" y="2567659"/>
            <a:ext cx="7813676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166">
                <a:solidFill>
                  <a:schemeClr val="bg1"/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4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368800" y="4857752"/>
            <a:ext cx="3672420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Presentation title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52427" y="4857752"/>
            <a:ext cx="4016375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5" y="4857752"/>
            <a:ext cx="230981" cy="562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366" noProof="0" smtClean="0">
                <a:solidFill>
                  <a:schemeClr val="bg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366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861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LGEM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0ED2B30A-9B93-5338-770F-D3DC55C35FBB}"/>
              </a:ext>
            </a:extLst>
          </p:cNvPr>
          <p:cNvSpPr/>
          <p:nvPr userDrawn="1"/>
        </p:nvSpPr>
        <p:spPr>
          <a:xfrm>
            <a:off x="4638060" y="-1"/>
            <a:ext cx="4505940" cy="5143501"/>
          </a:xfrm>
          <a:custGeom>
            <a:avLst/>
            <a:gdLst>
              <a:gd name="connsiteX0" fmla="*/ 2950209 w 4505940"/>
              <a:gd name="connsiteY0" fmla="*/ 0 h 5143501"/>
              <a:gd name="connsiteX1" fmla="*/ 4505940 w 4505940"/>
              <a:gd name="connsiteY1" fmla="*/ 0 h 5143501"/>
              <a:gd name="connsiteX2" fmla="*/ 4505940 w 4505940"/>
              <a:gd name="connsiteY2" fmla="*/ 5143501 h 5143501"/>
              <a:gd name="connsiteX3" fmla="*/ 0 w 4505940"/>
              <a:gd name="connsiteY3" fmla="*/ 514350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5940" h="5143501">
                <a:moveTo>
                  <a:pt x="2950209" y="0"/>
                </a:moveTo>
                <a:lnTo>
                  <a:pt x="4505940" y="0"/>
                </a:lnTo>
                <a:lnTo>
                  <a:pt x="4505940" y="5143501"/>
                </a:lnTo>
                <a:lnTo>
                  <a:pt x="0" y="514350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37155686-58FC-A144-90EC-2DDF93FAB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337" y="456696"/>
            <a:ext cx="3108049" cy="1555200"/>
          </a:xfrm>
        </p:spPr>
        <p:txBody>
          <a:bodyPr anchor="b" anchorCtr="0">
            <a:noAutofit/>
          </a:bodyPr>
          <a:lstStyle>
            <a:lvl1pPr indent="0" algn="l">
              <a:lnSpc>
                <a:spcPts val="4050"/>
              </a:lnSpc>
              <a:defRPr sz="40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28" name="Ondertitel 2">
            <a:extLst>
              <a:ext uri="{FF2B5EF4-FFF2-40B4-BE49-F238E27FC236}">
                <a16:creationId xmlns:a16="http://schemas.microsoft.com/office/drawing/2014/main" id="{2AEA6679-13F6-284A-A5CC-7A879725C6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5335" y="2231136"/>
            <a:ext cx="5792885" cy="1773936"/>
          </a:xfrm>
        </p:spPr>
        <p:txBody>
          <a:bodyPr bIns="0">
            <a:noAutofit/>
          </a:bodyPr>
          <a:lstStyle>
            <a:lvl1pPr marL="0" indent="0" algn="l">
              <a:lnSpc>
                <a:spcPct val="120000"/>
              </a:lnSpc>
              <a:buNone/>
              <a:defRPr sz="1200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ken om de ondertitelstijl van het model te bewerken</a:t>
            </a:r>
            <a:endParaRPr lang="nl-BE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1874FB4-FE9B-7B4C-998E-5DAD9FE3BFAA}"/>
              </a:ext>
            </a:extLst>
          </p:cNvPr>
          <p:cNvGrpSpPr/>
          <p:nvPr userDrawn="1"/>
        </p:nvGrpSpPr>
        <p:grpSpPr>
          <a:xfrm>
            <a:off x="543139" y="2021304"/>
            <a:ext cx="3128211" cy="50189"/>
            <a:chOff x="0" y="0"/>
            <a:chExt cx="9144000" cy="9144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B89F494-37F4-F341-8C89-CEF8BD1189B6}"/>
                </a:ext>
              </a:extLst>
            </p:cNvPr>
            <p:cNvSpPr/>
            <p:nvPr userDrawn="1"/>
          </p:nvSpPr>
          <p:spPr>
            <a:xfrm>
              <a:off x="0" y="0"/>
              <a:ext cx="3045600" cy="91440"/>
            </a:xfrm>
            <a:prstGeom prst="rect">
              <a:avLst/>
            </a:prstGeom>
            <a:solidFill>
              <a:srgbClr val="E633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B352D17-4BEE-F646-9BFA-E753A397CD56}"/>
                </a:ext>
              </a:extLst>
            </p:cNvPr>
            <p:cNvSpPr/>
            <p:nvPr userDrawn="1"/>
          </p:nvSpPr>
          <p:spPr>
            <a:xfrm>
              <a:off x="3049200" y="0"/>
              <a:ext cx="3045600" cy="91440"/>
            </a:xfrm>
            <a:prstGeom prst="rect">
              <a:avLst/>
            </a:prstGeom>
            <a:solidFill>
              <a:srgbClr val="F0A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8B05E1A-7384-1E49-8AB4-FEA5543C2DCC}"/>
                </a:ext>
              </a:extLst>
            </p:cNvPr>
            <p:cNvSpPr/>
            <p:nvPr userDrawn="1"/>
          </p:nvSpPr>
          <p:spPr>
            <a:xfrm>
              <a:off x="6098400" y="0"/>
              <a:ext cx="3045600" cy="91440"/>
            </a:xfrm>
            <a:prstGeom prst="rect">
              <a:avLst/>
            </a:prstGeom>
            <a:solidFill>
              <a:srgbClr val="D36D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/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FAE8E427-C2B0-854D-24D5-4A2D8709C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02642" y="2179452"/>
            <a:ext cx="1686936" cy="16890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0D81601-80FC-9B93-C88C-03623C20D5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4647" y="4480983"/>
            <a:ext cx="759058" cy="35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44886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6" y="1279253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166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6" y="2571750"/>
            <a:ext cx="7813675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166">
                <a:solidFill>
                  <a:schemeClr val="bg1"/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4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4368800" y="4857752"/>
            <a:ext cx="3672420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Presentation title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352427" y="4857752"/>
            <a:ext cx="4016375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5" y="4857752"/>
            <a:ext cx="230981" cy="562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366" noProof="0" smtClean="0">
                <a:solidFill>
                  <a:schemeClr val="bg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366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743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6" y="1279253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166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6" y="2571750"/>
            <a:ext cx="7813675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166">
                <a:solidFill>
                  <a:schemeClr val="bg1"/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4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4368800" y="4857752"/>
            <a:ext cx="3672420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Presentation title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352427" y="4857752"/>
            <a:ext cx="4016375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5" y="4857752"/>
            <a:ext cx="230981" cy="562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366" noProof="0" smtClean="0">
                <a:solidFill>
                  <a:schemeClr val="bg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366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782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478396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3158966"/>
            <a:ext cx="6396702" cy="1627347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450"/>
              </a:spcAft>
              <a:defRPr sz="675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7028136" y="3158966"/>
            <a:ext cx="1739627" cy="1294086"/>
          </a:xfrm>
        </p:spPr>
        <p:txBody>
          <a:bodyPr anchor="ctr" anchorCtr="0"/>
          <a:lstStyle>
            <a:lvl1pPr algn="ctr">
              <a:defRPr sz="675"/>
            </a:lvl1pPr>
          </a:lstStyle>
          <a:p>
            <a:r>
              <a:rPr lang="en-US" sz="675" noProof="0"/>
              <a:t>Insert sponsorship mark here</a:t>
            </a:r>
            <a:endParaRPr lang="en-US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028138" y="4513521"/>
            <a:ext cx="1739626" cy="272792"/>
          </a:xfrm>
        </p:spPr>
        <p:txBody>
          <a:bodyPr anchor="b" anchorCtr="0"/>
          <a:lstStyle>
            <a:lvl1pPr>
              <a:lnSpc>
                <a:spcPct val="100000"/>
              </a:lnSpc>
              <a:defRPr sz="713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283493" y="283500"/>
            <a:ext cx="1215000" cy="230982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388320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01" y="4383885"/>
            <a:ext cx="4194008" cy="3792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bg1"/>
                </a:solidFill>
              </a:defRPr>
            </a:lvl1pPr>
            <a:lvl2pPr marL="0" indent="0" algn="l">
              <a:buNone/>
              <a:defRPr sz="1200" b="0">
                <a:solidFill>
                  <a:schemeClr val="bg1"/>
                </a:solidFill>
              </a:defRPr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  <a:p>
            <a:pPr lvl="1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sub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4772025"/>
            <a:ext cx="4195762" cy="223838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352425" y="343321"/>
            <a:ext cx="1498500" cy="2808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545696"/>
            <a:ext cx="4050000" cy="4050000"/>
          </a:xfrm>
          <a:prstGeom prst="rect">
            <a:avLst/>
          </a:prstGeom>
        </p:spPr>
        <p:txBody>
          <a:bodyPr/>
          <a:lstStyle/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picture</a:t>
            </a:r>
          </a:p>
        </p:txBody>
      </p:sp>
    </p:spTree>
    <p:extLst>
      <p:ext uri="{BB962C8B-B14F-4D97-AF65-F5344CB8AC3E}">
        <p14:creationId xmlns:p14="http://schemas.microsoft.com/office/powerpoint/2010/main" val="1864255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95" y="4383885"/>
            <a:ext cx="4195761" cy="3792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  <a:p>
            <a:pPr lvl="1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sub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4772025"/>
            <a:ext cx="4195762" cy="22383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356494" y="342900"/>
            <a:ext cx="1498500" cy="2808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545696"/>
            <a:ext cx="4050000" cy="4050000"/>
          </a:xfrm>
          <a:prstGeom prst="rect">
            <a:avLst/>
          </a:prstGeom>
        </p:spPr>
        <p:txBody>
          <a:bodyPr/>
          <a:lstStyle/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picture</a:t>
            </a:r>
          </a:p>
        </p:txBody>
      </p:sp>
    </p:spTree>
    <p:extLst>
      <p:ext uri="{BB962C8B-B14F-4D97-AF65-F5344CB8AC3E}">
        <p14:creationId xmlns:p14="http://schemas.microsoft.com/office/powerpoint/2010/main" val="46442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7612" y="1147838"/>
            <a:ext cx="2835000" cy="2835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01" y="4383885"/>
            <a:ext cx="4194008" cy="3792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sub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4772025"/>
            <a:ext cx="4195762" cy="223838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2425" y="343321"/>
            <a:ext cx="1498500" cy="2808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4683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9000" y="1147500"/>
            <a:ext cx="2835000" cy="2835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95" y="4383885"/>
            <a:ext cx="4195761" cy="3792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sub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4772025"/>
            <a:ext cx="4195762" cy="22383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6494" y="342900"/>
            <a:ext cx="1498500" cy="2808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9501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275160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2567659"/>
            <a:ext cx="7813676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352426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/>
                </a:solidFill>
              </a:rPr>
              <a:t>© 2020 Deloitte Belgium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4857750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nl-BE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nl-BE" sz="488" noProof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752000" y="4857750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nl-BE" sz="488" noProof="0" err="1">
                <a:solidFill>
                  <a:schemeClr val="bg1"/>
                </a:solidFill>
              </a:rPr>
              <a:t>Flanders</a:t>
            </a:r>
            <a:r>
              <a:rPr lang="nl-BE" sz="488" noProof="0">
                <a:solidFill>
                  <a:schemeClr val="bg1"/>
                </a:solidFill>
              </a:rPr>
              <a:t> Investment &amp; Trade – Ondersteuning klantenbenadering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/>
                </a:solidFill>
              </a:rPr>
              <a:t>Offerte</a:t>
            </a:r>
            <a:r>
              <a:rPr lang="nl-BE" sz="488" baseline="0" noProof="0">
                <a:solidFill>
                  <a:schemeClr val="bg1"/>
                </a:solidFill>
              </a:rPr>
              <a:t> Deloitte | v1.0 | 03/08/2020</a:t>
            </a:r>
            <a:endParaRPr lang="nl-BE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724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279252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2571750"/>
            <a:ext cx="7813675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21" name="TextBox 20"/>
          <p:cNvSpPr txBox="1"/>
          <p:nvPr userDrawn="1"/>
        </p:nvSpPr>
        <p:spPr>
          <a:xfrm>
            <a:off x="352426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/>
                </a:solidFill>
              </a:rPr>
              <a:t>© 2020 Deloitte Belgium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4857750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nl-BE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nl-BE" sz="488" noProof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752000" y="4857750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nl-BE" sz="488" noProof="0" err="1">
                <a:solidFill>
                  <a:schemeClr val="bg1">
                    <a:lumMod val="100000"/>
                  </a:schemeClr>
                </a:solidFill>
              </a:rPr>
              <a:t>EventFlanders</a:t>
            </a:r>
            <a:r>
              <a:rPr lang="nl-BE" sz="488" noProof="0">
                <a:solidFill>
                  <a:schemeClr val="bg1">
                    <a:lumMod val="100000"/>
                  </a:schemeClr>
                </a:solidFill>
              </a:rPr>
              <a:t> – Ondersteuning evenementensector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/>
                </a:solidFill>
              </a:rPr>
              <a:t>Offerte</a:t>
            </a:r>
            <a:r>
              <a:rPr lang="nl-BE" sz="488" baseline="0" noProof="0">
                <a:solidFill>
                  <a:schemeClr val="bg1"/>
                </a:solidFill>
              </a:rPr>
              <a:t> Deloitte | v1.0 | 03/08/2020</a:t>
            </a:r>
            <a:endParaRPr lang="nl-BE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21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LGEMEEN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>
            <a:extLst>
              <a:ext uri="{FF2B5EF4-FFF2-40B4-BE49-F238E27FC236}">
                <a16:creationId xmlns:a16="http://schemas.microsoft.com/office/drawing/2014/main" id="{B2801CD2-2A47-9248-A41C-9779AC803D03}"/>
              </a:ext>
            </a:extLst>
          </p:cNvPr>
          <p:cNvSpPr/>
          <p:nvPr userDrawn="1"/>
        </p:nvSpPr>
        <p:spPr>
          <a:xfrm>
            <a:off x="4638060" y="-1"/>
            <a:ext cx="4505940" cy="5143501"/>
          </a:xfrm>
          <a:custGeom>
            <a:avLst/>
            <a:gdLst>
              <a:gd name="connsiteX0" fmla="*/ 2950209 w 4505940"/>
              <a:gd name="connsiteY0" fmla="*/ 0 h 5143501"/>
              <a:gd name="connsiteX1" fmla="*/ 4505940 w 4505940"/>
              <a:gd name="connsiteY1" fmla="*/ 0 h 5143501"/>
              <a:gd name="connsiteX2" fmla="*/ 4505940 w 4505940"/>
              <a:gd name="connsiteY2" fmla="*/ 5143501 h 5143501"/>
              <a:gd name="connsiteX3" fmla="*/ 0 w 4505940"/>
              <a:gd name="connsiteY3" fmla="*/ 514350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5940" h="5143501">
                <a:moveTo>
                  <a:pt x="2950209" y="0"/>
                </a:moveTo>
                <a:lnTo>
                  <a:pt x="4505940" y="0"/>
                </a:lnTo>
                <a:lnTo>
                  <a:pt x="4505940" y="5143501"/>
                </a:lnTo>
                <a:lnTo>
                  <a:pt x="0" y="514350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37155686-58FC-A144-90EC-2DDF93FAB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337" y="456696"/>
            <a:ext cx="3108049" cy="1555200"/>
          </a:xfrm>
        </p:spPr>
        <p:txBody>
          <a:bodyPr anchor="b" anchorCtr="0">
            <a:noAutofit/>
          </a:bodyPr>
          <a:lstStyle>
            <a:lvl1pPr indent="0" algn="l">
              <a:lnSpc>
                <a:spcPts val="4050"/>
              </a:lnSpc>
              <a:defRPr sz="40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28" name="Ondertitel 2">
            <a:extLst>
              <a:ext uri="{FF2B5EF4-FFF2-40B4-BE49-F238E27FC236}">
                <a16:creationId xmlns:a16="http://schemas.microsoft.com/office/drawing/2014/main" id="{2AEA6679-13F6-284A-A5CC-7A879725C6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5336" y="2231136"/>
            <a:ext cx="5792884" cy="1773936"/>
          </a:xfrm>
        </p:spPr>
        <p:txBody>
          <a:bodyPr bIns="0" numCol="2" spcCol="720000">
            <a:noAutofit/>
          </a:bodyPr>
          <a:lstStyle>
            <a:lvl1pPr marL="0" indent="0" algn="l">
              <a:lnSpc>
                <a:spcPct val="120000"/>
              </a:lnSpc>
              <a:buNone/>
              <a:defRPr sz="1200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0D0CBD5-97CB-0448-B11B-7E6F031BD38A}"/>
              </a:ext>
            </a:extLst>
          </p:cNvPr>
          <p:cNvGrpSpPr/>
          <p:nvPr userDrawn="1"/>
        </p:nvGrpSpPr>
        <p:grpSpPr>
          <a:xfrm>
            <a:off x="543139" y="2021304"/>
            <a:ext cx="3128211" cy="50189"/>
            <a:chOff x="0" y="0"/>
            <a:chExt cx="9144000" cy="9144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147FB9E-D887-094A-A2C6-01F3F900500C}"/>
                </a:ext>
              </a:extLst>
            </p:cNvPr>
            <p:cNvSpPr/>
            <p:nvPr userDrawn="1"/>
          </p:nvSpPr>
          <p:spPr>
            <a:xfrm>
              <a:off x="0" y="0"/>
              <a:ext cx="3045600" cy="91440"/>
            </a:xfrm>
            <a:prstGeom prst="rect">
              <a:avLst/>
            </a:prstGeom>
            <a:solidFill>
              <a:srgbClr val="E633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E83E044-6BBB-BD44-9C58-85DD725609E7}"/>
                </a:ext>
              </a:extLst>
            </p:cNvPr>
            <p:cNvSpPr/>
            <p:nvPr userDrawn="1"/>
          </p:nvSpPr>
          <p:spPr>
            <a:xfrm>
              <a:off x="3049200" y="0"/>
              <a:ext cx="3045600" cy="91440"/>
            </a:xfrm>
            <a:prstGeom prst="rect">
              <a:avLst/>
            </a:prstGeom>
            <a:solidFill>
              <a:srgbClr val="F0A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8D41E15-B2A2-9B41-9997-F538E6F2D0ED}"/>
                </a:ext>
              </a:extLst>
            </p:cNvPr>
            <p:cNvSpPr/>
            <p:nvPr userDrawn="1"/>
          </p:nvSpPr>
          <p:spPr>
            <a:xfrm>
              <a:off x="6098400" y="0"/>
              <a:ext cx="3045600" cy="91440"/>
            </a:xfrm>
            <a:prstGeom prst="rect">
              <a:avLst/>
            </a:prstGeom>
            <a:solidFill>
              <a:srgbClr val="D36D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/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2DA6BEC8-1B51-E823-734B-310D991F22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02642" y="2179452"/>
            <a:ext cx="1686936" cy="168904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112F73F-91B8-F96B-C058-6433FC9792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4647" y="4480983"/>
            <a:ext cx="759058" cy="35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11538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279252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2571750"/>
            <a:ext cx="7813675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352426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/>
                </a:solidFill>
              </a:rPr>
              <a:t>© 2020 Deloitte Belgium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560594" y="4857750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nl-BE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nl-BE" sz="488" noProof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2000" y="4857750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nl-BE" sz="488" noProof="0" err="1">
                <a:solidFill>
                  <a:schemeClr val="tx1"/>
                </a:solidFill>
              </a:rPr>
              <a:t>EventFlanders</a:t>
            </a:r>
            <a:r>
              <a:rPr lang="nl-BE" sz="488" noProof="0">
                <a:solidFill>
                  <a:schemeClr val="tx1"/>
                </a:solidFill>
              </a:rPr>
              <a:t> – Ondersteuning evenementensector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tx1"/>
                </a:solidFill>
              </a:rPr>
              <a:t>Offerte Deloitte | v1.0 | 03/08/2020</a:t>
            </a:r>
          </a:p>
        </p:txBody>
      </p:sp>
    </p:spTree>
    <p:extLst>
      <p:ext uri="{BB962C8B-B14F-4D97-AF65-F5344CB8AC3E}">
        <p14:creationId xmlns:p14="http://schemas.microsoft.com/office/powerpoint/2010/main" val="2053143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279252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2571750"/>
            <a:ext cx="7813675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21" name="TextBox 20"/>
          <p:cNvSpPr txBox="1"/>
          <p:nvPr userDrawn="1"/>
        </p:nvSpPr>
        <p:spPr>
          <a:xfrm>
            <a:off x="352426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/>
                </a:solidFill>
              </a:rPr>
              <a:t>© 2020 Deloitte Belgium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4857750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nl-BE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nl-BE" sz="488" noProof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752000" y="4857750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nl-BE" sz="488" noProof="0" err="1">
                <a:solidFill>
                  <a:schemeClr val="bg1">
                    <a:lumMod val="100000"/>
                  </a:schemeClr>
                </a:solidFill>
              </a:rPr>
              <a:t>EventFlanders</a:t>
            </a:r>
            <a:r>
              <a:rPr lang="nl-BE" sz="488" noProof="0">
                <a:solidFill>
                  <a:schemeClr val="bg1">
                    <a:lumMod val="100000"/>
                  </a:schemeClr>
                </a:solidFill>
              </a:rPr>
              <a:t> – Ondersteuning evenementensector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/>
                </a:solidFill>
              </a:rPr>
              <a:t>Offerte</a:t>
            </a:r>
            <a:r>
              <a:rPr lang="nl-BE" sz="488" baseline="0" noProof="0">
                <a:solidFill>
                  <a:schemeClr val="bg1"/>
                </a:solidFill>
              </a:rPr>
              <a:t> Deloitte | v1.0 | 03/08/2020</a:t>
            </a:r>
            <a:endParaRPr lang="nl-BE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553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279252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2571750"/>
            <a:ext cx="7813675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21" name="TextBox 20"/>
          <p:cNvSpPr txBox="1"/>
          <p:nvPr userDrawn="1"/>
        </p:nvSpPr>
        <p:spPr>
          <a:xfrm>
            <a:off x="352426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/>
                </a:solidFill>
              </a:rPr>
              <a:t>© 2020 Deloitte Belgium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4" y="4857750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nl-BE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nl-BE" sz="488" noProof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752000" y="4857750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nl-BE" sz="488" noProof="0" err="1">
                <a:solidFill>
                  <a:schemeClr val="bg1"/>
                </a:solidFill>
              </a:rPr>
              <a:t>Flanders</a:t>
            </a:r>
            <a:r>
              <a:rPr lang="nl-BE" sz="488" noProof="0">
                <a:solidFill>
                  <a:schemeClr val="bg1"/>
                </a:solidFill>
              </a:rPr>
              <a:t> Investment &amp; Trade – Ondersteuning klantenbenadering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/>
                </a:solidFill>
              </a:rPr>
              <a:t>Offerte</a:t>
            </a:r>
            <a:r>
              <a:rPr lang="nl-BE" sz="488" baseline="0" noProof="0">
                <a:solidFill>
                  <a:schemeClr val="bg1"/>
                </a:solidFill>
              </a:rPr>
              <a:t> Deloitte | v1.0 | 03/08/2020</a:t>
            </a:r>
            <a:endParaRPr lang="nl-BE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7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279252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2571750"/>
            <a:ext cx="7905750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408677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193007"/>
            <a:ext cx="6772203" cy="3531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352426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/>
                </a:solidFill>
              </a:rPr>
              <a:t>© 2020 Deloitte Belgium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4857750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nl-BE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nl-BE" sz="488" noProof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752000" y="4857750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nl-BE" sz="488" noProof="0" err="1">
                <a:solidFill>
                  <a:schemeClr val="bg1">
                    <a:lumMod val="100000"/>
                  </a:schemeClr>
                </a:solidFill>
              </a:rPr>
              <a:t>EventFlanders</a:t>
            </a:r>
            <a:r>
              <a:rPr lang="nl-BE" sz="488" noProof="0">
                <a:solidFill>
                  <a:schemeClr val="bg1">
                    <a:lumMod val="100000"/>
                  </a:schemeClr>
                </a:solidFill>
              </a:rPr>
              <a:t> – Ondersteuning evenementensector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>
                    <a:lumMod val="100000"/>
                  </a:schemeClr>
                </a:solidFill>
              </a:rPr>
              <a:t>Offerte Deloitte, v1.0, 24/04/2020</a:t>
            </a:r>
          </a:p>
        </p:txBody>
      </p:sp>
    </p:spTree>
    <p:extLst>
      <p:ext uri="{BB962C8B-B14F-4D97-AF65-F5344CB8AC3E}">
        <p14:creationId xmlns:p14="http://schemas.microsoft.com/office/powerpoint/2010/main" val="367527655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193007"/>
            <a:ext cx="6772203" cy="3531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52426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/>
                </a:solidFill>
              </a:rPr>
              <a:t>© 2020 Deloitte Belgium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4857750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nl-BE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nl-BE" sz="488" noProof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752000" y="4857750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nl-BE" sz="488" noProof="0" err="1">
                <a:solidFill>
                  <a:schemeClr val="bg1">
                    <a:lumMod val="100000"/>
                  </a:schemeClr>
                </a:solidFill>
              </a:rPr>
              <a:t>EventFlanders</a:t>
            </a:r>
            <a:r>
              <a:rPr lang="nl-BE" sz="488" noProof="0">
                <a:solidFill>
                  <a:schemeClr val="bg1">
                    <a:lumMod val="100000"/>
                  </a:schemeClr>
                </a:solidFill>
              </a:rPr>
              <a:t> – Ondersteuning evenementensector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>
                    <a:lumMod val="100000"/>
                  </a:schemeClr>
                </a:solidFill>
              </a:rPr>
              <a:t>Offerte Deloitte, v1.0, 24/04/2020</a:t>
            </a:r>
          </a:p>
        </p:txBody>
      </p:sp>
    </p:spTree>
    <p:extLst>
      <p:ext uri="{BB962C8B-B14F-4D97-AF65-F5344CB8AC3E}">
        <p14:creationId xmlns:p14="http://schemas.microsoft.com/office/powerpoint/2010/main" val="275939832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193007"/>
            <a:ext cx="6772203" cy="3531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4368800" y="4857750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/>
                </a:solidFill>
              </a:rPr>
              <a:t>Presentation </a:t>
            </a:r>
            <a:r>
              <a:rPr lang="nl-BE" sz="488" noProof="0" err="1">
                <a:solidFill>
                  <a:schemeClr val="bg1"/>
                </a:solidFill>
              </a:rPr>
              <a:t>title</a:t>
            </a:r>
            <a:br>
              <a:rPr lang="nl-BE" sz="488" noProof="0">
                <a:solidFill>
                  <a:schemeClr val="bg1"/>
                </a:solidFill>
              </a:rPr>
            </a:br>
            <a:r>
              <a:rPr lang="nl-BE" sz="488" noProof="0">
                <a:solidFill>
                  <a:schemeClr val="bg1"/>
                </a:solidFill>
              </a:rPr>
              <a:t>[</a:t>
            </a:r>
            <a:r>
              <a:rPr lang="nl-BE" sz="488" noProof="0" err="1">
                <a:solidFill>
                  <a:schemeClr val="bg1"/>
                </a:solidFill>
              </a:rPr>
              <a:t>To</a:t>
            </a:r>
            <a:r>
              <a:rPr lang="nl-BE" sz="488" noProof="0">
                <a:solidFill>
                  <a:schemeClr val="bg1"/>
                </a:solidFill>
              </a:rPr>
              <a:t> </a:t>
            </a:r>
            <a:r>
              <a:rPr lang="nl-BE" sz="488" noProof="0" err="1">
                <a:solidFill>
                  <a:schemeClr val="bg1"/>
                </a:solidFill>
              </a:rPr>
              <a:t>edit</a:t>
            </a:r>
            <a:r>
              <a:rPr lang="nl-BE" sz="488" noProof="0">
                <a:solidFill>
                  <a:schemeClr val="bg1"/>
                </a:solidFill>
              </a:rPr>
              <a:t>, click View &gt; Slide Master &gt; Slide Master]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352426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/>
                </a:solidFill>
              </a:rPr>
              <a:t>© 2017 Deloitte Belgium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560594" y="4857750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nl-BE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nl-BE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42345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193007"/>
            <a:ext cx="6772203" cy="3531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4368800" y="4857750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/>
                </a:solidFill>
              </a:rPr>
              <a:t>Presentation </a:t>
            </a:r>
            <a:r>
              <a:rPr lang="nl-BE" sz="488" noProof="0" err="1">
                <a:solidFill>
                  <a:schemeClr val="bg1"/>
                </a:solidFill>
              </a:rPr>
              <a:t>title</a:t>
            </a:r>
            <a:br>
              <a:rPr lang="nl-BE" sz="488" noProof="0">
                <a:solidFill>
                  <a:schemeClr val="bg1"/>
                </a:solidFill>
              </a:rPr>
            </a:br>
            <a:r>
              <a:rPr lang="nl-BE" sz="488" noProof="0">
                <a:solidFill>
                  <a:schemeClr val="bg1"/>
                </a:solidFill>
              </a:rPr>
              <a:t>[</a:t>
            </a:r>
            <a:r>
              <a:rPr lang="nl-BE" sz="488" noProof="0" err="1">
                <a:solidFill>
                  <a:schemeClr val="bg1"/>
                </a:solidFill>
              </a:rPr>
              <a:t>To</a:t>
            </a:r>
            <a:r>
              <a:rPr lang="nl-BE" sz="488" noProof="0">
                <a:solidFill>
                  <a:schemeClr val="bg1"/>
                </a:solidFill>
              </a:rPr>
              <a:t> </a:t>
            </a:r>
            <a:r>
              <a:rPr lang="nl-BE" sz="488" noProof="0" err="1">
                <a:solidFill>
                  <a:schemeClr val="bg1"/>
                </a:solidFill>
              </a:rPr>
              <a:t>edit</a:t>
            </a:r>
            <a:r>
              <a:rPr lang="nl-BE" sz="488" noProof="0">
                <a:solidFill>
                  <a:schemeClr val="bg1"/>
                </a:solidFill>
              </a:rPr>
              <a:t>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52426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/>
                </a:solidFill>
              </a:rPr>
              <a:t>© 2017 Deloitte Belgium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4" y="4857750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nl-BE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nl-BE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1855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5" y="1193007"/>
            <a:ext cx="6772203" cy="3531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20080604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248968"/>
            <a:ext cx="7011590" cy="3475433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nl-BE" err="1"/>
              <a:t>Edit</a:t>
            </a:r>
            <a:r>
              <a:rPr lang="nl-BE"/>
              <a:t> Master </a:t>
            </a:r>
            <a:r>
              <a:rPr lang="nl-BE" err="1"/>
              <a:t>text</a:t>
            </a:r>
            <a:r>
              <a:rPr lang="nl-BE"/>
              <a:t> </a:t>
            </a:r>
            <a:r>
              <a:rPr lang="nl-BE" err="1"/>
              <a:t>styles</a:t>
            </a:r>
            <a:endParaRPr lang="nl-BE"/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 err="1"/>
              <a:t>Third</a:t>
            </a:r>
            <a:r>
              <a:rPr lang="nl-BE"/>
              <a:t> level</a:t>
            </a:r>
          </a:p>
          <a:p>
            <a:pPr lvl="3"/>
            <a:r>
              <a:rPr lang="nl-BE" err="1"/>
              <a:t>Fourth</a:t>
            </a:r>
            <a:r>
              <a:rPr lang="nl-BE"/>
              <a:t> level</a:t>
            </a:r>
          </a:p>
          <a:p>
            <a:pPr lvl="4"/>
            <a:r>
              <a:rPr lang="nl-BE" err="1"/>
              <a:t>Fifth</a:t>
            </a:r>
            <a:r>
              <a:rPr lang="nl-BE"/>
              <a:t>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11274467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r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>
            <a:extLst>
              <a:ext uri="{FF2B5EF4-FFF2-40B4-BE49-F238E27FC236}">
                <a16:creationId xmlns:a16="http://schemas.microsoft.com/office/drawing/2014/main" id="{34D6337E-C64B-FC4D-97A5-DF801AE6CE3E}"/>
              </a:ext>
            </a:extLst>
          </p:cNvPr>
          <p:cNvSpPr/>
          <p:nvPr userDrawn="1"/>
        </p:nvSpPr>
        <p:spPr>
          <a:xfrm>
            <a:off x="-7474" y="-1"/>
            <a:ext cx="9151474" cy="5143501"/>
          </a:xfrm>
          <a:custGeom>
            <a:avLst/>
            <a:gdLst>
              <a:gd name="connsiteX0" fmla="*/ 4478466 w 9151474"/>
              <a:gd name="connsiteY0" fmla="*/ 0 h 5143501"/>
              <a:gd name="connsiteX1" fmla="*/ 9151474 w 9151474"/>
              <a:gd name="connsiteY1" fmla="*/ 0 h 5143501"/>
              <a:gd name="connsiteX2" fmla="*/ 6201265 w 9151474"/>
              <a:gd name="connsiteY2" fmla="*/ 5143501 h 5143501"/>
              <a:gd name="connsiteX3" fmla="*/ 4579474 w 9151474"/>
              <a:gd name="connsiteY3" fmla="*/ 5143501 h 5143501"/>
              <a:gd name="connsiteX4" fmla="*/ 1528257 w 9151474"/>
              <a:gd name="connsiteY4" fmla="*/ 5143501 h 5143501"/>
              <a:gd name="connsiteX5" fmla="*/ 0 w 9151474"/>
              <a:gd name="connsiteY5" fmla="*/ 5143501 h 5143501"/>
              <a:gd name="connsiteX6" fmla="*/ 0 w 9151474"/>
              <a:gd name="connsiteY6" fmla="*/ 1 h 5143501"/>
              <a:gd name="connsiteX7" fmla="*/ 4478466 w 9151474"/>
              <a:gd name="connsiteY7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1474" h="5143501">
                <a:moveTo>
                  <a:pt x="4478466" y="0"/>
                </a:moveTo>
                <a:lnTo>
                  <a:pt x="9151474" y="0"/>
                </a:lnTo>
                <a:lnTo>
                  <a:pt x="6201265" y="5143501"/>
                </a:lnTo>
                <a:lnTo>
                  <a:pt x="4579474" y="5143501"/>
                </a:lnTo>
                <a:lnTo>
                  <a:pt x="1528257" y="5143501"/>
                </a:lnTo>
                <a:lnTo>
                  <a:pt x="0" y="5143501"/>
                </a:lnTo>
                <a:lnTo>
                  <a:pt x="0" y="1"/>
                </a:lnTo>
                <a:lnTo>
                  <a:pt x="4478466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362186" y="0"/>
            <a:ext cx="4419628" cy="5143500"/>
          </a:xfrm>
        </p:spPr>
        <p:txBody>
          <a:bodyPr anchor="ctr" anchorCtr="0">
            <a:noAutofit/>
          </a:bodyPr>
          <a:lstStyle>
            <a:lvl1pPr algn="l">
              <a:lnSpc>
                <a:spcPts val="3000"/>
              </a:lnSpc>
              <a:defRPr sz="2800" baseline="0">
                <a:solidFill>
                  <a:schemeClr val="accent4"/>
                </a:solidFill>
                <a:latin typeface="+mj-lt"/>
                <a:cs typeface="Calibri"/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7187184" y="3464572"/>
            <a:ext cx="1682496" cy="1427467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 algn="r">
              <a:lnSpc>
                <a:spcPts val="2300"/>
              </a:lnSpc>
              <a:spcBef>
                <a:spcPts val="0"/>
              </a:spcBef>
              <a:buNone/>
              <a:defRPr sz="2000" b="1">
                <a:solidFill>
                  <a:schemeClr val="accent4"/>
                </a:solidFill>
                <a:latin typeface="FlandersArtSans-Regular" panose="00000500000000000000" pitchFamily="2" charset="0"/>
                <a:cs typeface="Calibri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8D4A95-E83E-44C6-1339-C0C5AE83A4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6894" y="1700197"/>
            <a:ext cx="1740924" cy="17431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874ED93-3D4C-CCCE-50F4-87FA6836FE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4647" y="4480983"/>
            <a:ext cx="759058" cy="35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71020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nl-BE"/>
              <a:t>Contents</a:t>
            </a:r>
          </a:p>
        </p:txBody>
      </p:sp>
      <p:sp>
        <p:nvSpPr>
          <p:cNvPr id="5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9332452" y="4348"/>
            <a:ext cx="144018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450" b="0" i="0" baseline="0">
                <a:solidFill>
                  <a:schemeClr val="tx1"/>
                </a:solidFill>
              </a:defRPr>
            </a:lvl1pPr>
            <a:lvl2pPr marL="97111" marR="0" indent="-96441" algn="l" defTabSz="3850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450" baseline="0">
                <a:solidFill>
                  <a:schemeClr val="tx1"/>
                </a:solidFill>
              </a:defRPr>
            </a:lvl2pPr>
            <a:lvl3pPr>
              <a:defRPr sz="506"/>
            </a:lvl3pPr>
            <a:lvl4pPr>
              <a:defRPr sz="506"/>
            </a:lvl4pPr>
            <a:lvl5pPr>
              <a:defRPr sz="506"/>
            </a:lvl5pPr>
          </a:lstStyle>
          <a:p>
            <a:pPr lvl="0"/>
            <a:r>
              <a:rPr lang="nl-BE" noProof="0" err="1"/>
              <a:t>Use</a:t>
            </a:r>
            <a:r>
              <a:rPr lang="nl-BE" noProof="0"/>
              <a:t> </a:t>
            </a:r>
            <a:r>
              <a:rPr lang="nl-BE" noProof="0" err="1"/>
              <a:t>the</a:t>
            </a:r>
            <a:r>
              <a:rPr lang="nl-BE" noProof="0"/>
              <a:t> </a:t>
            </a:r>
            <a:r>
              <a:rPr lang="nl-BE" noProof="0" err="1"/>
              <a:t>Selection</a:t>
            </a:r>
            <a:r>
              <a:rPr lang="nl-BE" noProof="0"/>
              <a:t> Pane (Alt+F10) </a:t>
            </a:r>
            <a:r>
              <a:rPr lang="nl-BE" noProof="0" err="1"/>
              <a:t>to</a:t>
            </a:r>
            <a:r>
              <a:rPr lang="nl-BE" noProof="0"/>
              <a:t> make </a:t>
            </a:r>
            <a:r>
              <a:rPr lang="nl-BE" noProof="0" err="1"/>
              <a:t>the</a:t>
            </a:r>
            <a:r>
              <a:rPr lang="nl-BE" noProof="0"/>
              <a:t> </a:t>
            </a:r>
            <a:r>
              <a:rPr lang="nl-BE" noProof="0" err="1"/>
              <a:t>hidden</a:t>
            </a:r>
            <a:r>
              <a:rPr lang="nl-BE" noProof="0"/>
              <a:t> </a:t>
            </a:r>
            <a:r>
              <a:rPr lang="nl-BE" noProof="0" err="1"/>
              <a:t>shapes</a:t>
            </a:r>
            <a:r>
              <a:rPr lang="nl-BE" noProof="0"/>
              <a:t> of </a:t>
            </a:r>
            <a:r>
              <a:rPr lang="nl-BE" noProof="0" err="1"/>
              <a:t>the</a:t>
            </a:r>
            <a:r>
              <a:rPr lang="nl-BE" noProof="0"/>
              <a:t> Agenda </a:t>
            </a:r>
            <a:r>
              <a:rPr lang="nl-BE" noProof="0" err="1"/>
              <a:t>visible</a:t>
            </a:r>
            <a:r>
              <a:rPr lang="nl-BE" noProof="0"/>
              <a:t>. Make </a:t>
            </a:r>
            <a:r>
              <a:rPr lang="nl-BE" noProof="0" err="1"/>
              <a:t>sure</a:t>
            </a:r>
            <a:r>
              <a:rPr lang="nl-BE" noProof="0"/>
              <a:t> </a:t>
            </a:r>
            <a:r>
              <a:rPr lang="nl-BE" noProof="0" err="1"/>
              <a:t>you</a:t>
            </a:r>
            <a:r>
              <a:rPr lang="nl-BE" noProof="0"/>
              <a:t> </a:t>
            </a:r>
            <a:r>
              <a:rPr lang="nl-BE" noProof="0" err="1"/>
              <a:t>group</a:t>
            </a:r>
            <a:r>
              <a:rPr lang="nl-BE" noProof="0"/>
              <a:t> </a:t>
            </a:r>
            <a:r>
              <a:rPr lang="nl-BE" noProof="0" err="1"/>
              <a:t>them</a:t>
            </a:r>
            <a:r>
              <a:rPr lang="nl-BE" noProof="0"/>
              <a:t> </a:t>
            </a:r>
            <a:r>
              <a:rPr lang="nl-BE" noProof="0" err="1"/>
              <a:t>again</a:t>
            </a:r>
            <a:r>
              <a:rPr lang="nl-BE" noProof="0"/>
              <a:t> </a:t>
            </a:r>
            <a:r>
              <a:rPr lang="nl-BE" noProof="0" err="1"/>
              <a:t>after</a:t>
            </a:r>
            <a:r>
              <a:rPr lang="nl-BE" noProof="0"/>
              <a:t> editing.</a:t>
            </a:r>
          </a:p>
          <a:p>
            <a:pPr lvl="0"/>
            <a:endParaRPr lang="nl-BE" noProof="0"/>
          </a:p>
          <a:p>
            <a:pPr lvl="0"/>
            <a:r>
              <a:rPr lang="nl-BE" noProof="0" err="1"/>
              <a:t>Expected</a:t>
            </a:r>
            <a:r>
              <a:rPr lang="nl-BE" noProof="0"/>
              <a:t> </a:t>
            </a:r>
            <a:r>
              <a:rPr lang="nl-BE" noProof="0" err="1"/>
              <a:t>groups</a:t>
            </a:r>
            <a:r>
              <a:rPr lang="nl-BE" noProof="0"/>
              <a:t> are:</a:t>
            </a:r>
          </a:p>
          <a:p>
            <a:pPr lvl="0"/>
            <a:endParaRPr lang="nl-BE" noProof="0"/>
          </a:p>
          <a:p>
            <a:pPr lvl="1"/>
            <a:r>
              <a:rPr lang="nl-BE" noProof="0"/>
              <a:t>SP Agenda </a:t>
            </a:r>
            <a:r>
              <a:rPr lang="nl-BE" noProof="0" err="1"/>
              <a:t>Section</a:t>
            </a:r>
            <a:endParaRPr lang="nl-BE" noProof="0"/>
          </a:p>
          <a:p>
            <a:pPr lvl="1"/>
            <a:r>
              <a:rPr lang="nl-BE" noProof="0"/>
              <a:t>SP Agenda </a:t>
            </a:r>
            <a:r>
              <a:rPr lang="nl-BE" noProof="0" err="1"/>
              <a:t>Section</a:t>
            </a:r>
            <a:r>
              <a:rPr lang="nl-BE" noProof="0"/>
              <a:t> Highlight</a:t>
            </a:r>
          </a:p>
          <a:p>
            <a:pPr lvl="1"/>
            <a:r>
              <a:rPr lang="nl-BE" noProof="0"/>
              <a:t>SP Agenda </a:t>
            </a:r>
            <a:r>
              <a:rPr lang="nl-BE" noProof="0" err="1"/>
              <a:t>Subsection</a:t>
            </a:r>
            <a:endParaRPr lang="nl-BE" noProof="0"/>
          </a:p>
          <a:p>
            <a:pPr lvl="1"/>
            <a:r>
              <a:rPr lang="nl-BE" noProof="0"/>
              <a:t>SP Agenda </a:t>
            </a:r>
            <a:r>
              <a:rPr lang="nl-BE" noProof="0" err="1"/>
              <a:t>Subsection</a:t>
            </a:r>
            <a:r>
              <a:rPr lang="nl-BE" noProof="0"/>
              <a:t> Highlight</a:t>
            </a:r>
          </a:p>
          <a:p>
            <a:pPr lvl="0"/>
            <a:endParaRPr lang="nl-BE" noProof="0"/>
          </a:p>
          <a:p>
            <a:pPr lvl="0"/>
            <a:r>
              <a:rPr lang="nl-BE" noProof="0" err="1"/>
              <a:t>Any</a:t>
            </a:r>
            <a:r>
              <a:rPr lang="nl-BE" noProof="0"/>
              <a:t> </a:t>
            </a:r>
            <a:r>
              <a:rPr lang="nl-BE" noProof="0" err="1"/>
              <a:t>shapes</a:t>
            </a:r>
            <a:r>
              <a:rPr lang="nl-BE" noProof="0"/>
              <a:t> or images </a:t>
            </a:r>
            <a:r>
              <a:rPr lang="nl-BE" noProof="0" err="1"/>
              <a:t>inside</a:t>
            </a:r>
            <a:r>
              <a:rPr lang="nl-BE" noProof="0"/>
              <a:t> </a:t>
            </a:r>
            <a:r>
              <a:rPr lang="nl-BE" noProof="0" err="1"/>
              <a:t>the</a:t>
            </a:r>
            <a:r>
              <a:rPr lang="nl-BE" noProof="0"/>
              <a:t> </a:t>
            </a:r>
            <a:r>
              <a:rPr lang="nl-BE" noProof="0" err="1"/>
              <a:t>groups</a:t>
            </a:r>
            <a:r>
              <a:rPr lang="nl-BE" noProof="0"/>
              <a:t> </a:t>
            </a:r>
            <a:r>
              <a:rPr lang="nl-BE" noProof="0" err="1"/>
              <a:t>will</a:t>
            </a:r>
            <a:r>
              <a:rPr lang="nl-BE" noProof="0"/>
              <a:t> </a:t>
            </a:r>
            <a:r>
              <a:rPr lang="nl-BE" noProof="0" err="1"/>
              <a:t>appear</a:t>
            </a:r>
            <a:r>
              <a:rPr lang="nl-BE" noProof="0"/>
              <a:t> on </a:t>
            </a:r>
            <a:r>
              <a:rPr lang="nl-BE" noProof="0" err="1"/>
              <a:t>the</a:t>
            </a:r>
            <a:r>
              <a:rPr lang="nl-BE" noProof="0"/>
              <a:t> agenda pages. </a:t>
            </a:r>
            <a:r>
              <a:rPr lang="nl-BE" noProof="0" err="1"/>
              <a:t>This</a:t>
            </a:r>
            <a:r>
              <a:rPr lang="nl-BE" noProof="0"/>
              <a:t> </a:t>
            </a:r>
            <a:r>
              <a:rPr lang="nl-BE" noProof="0" err="1"/>
              <a:t>notice</a:t>
            </a:r>
            <a:r>
              <a:rPr lang="nl-BE" noProof="0"/>
              <a:t> (SP Agenda </a:t>
            </a:r>
            <a:r>
              <a:rPr lang="nl-BE" noProof="0" err="1"/>
              <a:t>Notice</a:t>
            </a:r>
            <a:r>
              <a:rPr lang="nl-BE" noProof="0"/>
              <a:t>) </a:t>
            </a:r>
            <a:r>
              <a:rPr lang="nl-BE" noProof="0" err="1"/>
              <a:t>will</a:t>
            </a:r>
            <a:r>
              <a:rPr lang="nl-BE" noProof="0"/>
              <a:t> </a:t>
            </a:r>
            <a:r>
              <a:rPr lang="nl-BE" noProof="0" err="1"/>
              <a:t>not</a:t>
            </a:r>
            <a:r>
              <a:rPr lang="nl-BE" noProof="0"/>
              <a:t> </a:t>
            </a:r>
            <a:r>
              <a:rPr lang="nl-BE" noProof="0" err="1"/>
              <a:t>appear</a:t>
            </a:r>
            <a:r>
              <a:rPr lang="nl-BE" noProof="0"/>
              <a:t> on </a:t>
            </a:r>
            <a:r>
              <a:rPr lang="nl-BE" noProof="0" err="1"/>
              <a:t>the</a:t>
            </a:r>
            <a:r>
              <a:rPr lang="nl-BE" noProof="0"/>
              <a:t> agenda pages.</a:t>
            </a:r>
          </a:p>
          <a:p>
            <a:pPr lvl="0"/>
            <a:endParaRPr lang="nl-BE" noProof="0"/>
          </a:p>
          <a:p>
            <a:pPr lvl="0"/>
            <a:r>
              <a:rPr lang="nl-BE" noProof="0" err="1"/>
              <a:t>Valid</a:t>
            </a:r>
            <a:r>
              <a:rPr lang="nl-BE" noProof="0"/>
              <a:t>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placeholders</a:t>
            </a:r>
            <a:r>
              <a:rPr lang="nl-BE" noProof="0"/>
              <a:t> are:</a:t>
            </a:r>
          </a:p>
          <a:p>
            <a:pPr lvl="0"/>
            <a:endParaRPr lang="nl-BE" noProof="0"/>
          </a:p>
          <a:p>
            <a:pPr lvl="1"/>
            <a:r>
              <a:rPr lang="nl-BE" noProof="0"/>
              <a:t>&lt;N&gt; </a:t>
            </a:r>
            <a:r>
              <a:rPr lang="nl-BE" noProof="0" err="1"/>
              <a:t>for</a:t>
            </a:r>
            <a:r>
              <a:rPr lang="nl-BE" noProof="0"/>
              <a:t> </a:t>
            </a:r>
            <a:r>
              <a:rPr lang="nl-BE" noProof="0" err="1"/>
              <a:t>number</a:t>
            </a:r>
            <a:endParaRPr lang="nl-BE" noProof="0"/>
          </a:p>
          <a:p>
            <a:pPr lvl="1"/>
            <a:r>
              <a:rPr lang="nl-BE" noProof="0"/>
              <a:t>&lt;TEXT&gt;</a:t>
            </a:r>
          </a:p>
          <a:p>
            <a:pPr lvl="1"/>
            <a:r>
              <a:rPr lang="nl-BE" noProof="0"/>
              <a:t>&lt;RESPONSIBLE&gt;</a:t>
            </a:r>
          </a:p>
          <a:p>
            <a:pPr lvl="1"/>
            <a:r>
              <a:rPr lang="nl-BE" noProof="0"/>
              <a:t>&lt;TIMESLOT&gt;</a:t>
            </a:r>
          </a:p>
          <a:p>
            <a:pPr lvl="1"/>
            <a:r>
              <a:rPr lang="nl-BE" noProof="0"/>
              <a:t>&lt;DURATION&gt; </a:t>
            </a:r>
            <a:r>
              <a:rPr lang="nl-BE" noProof="0" err="1"/>
              <a:t>for</a:t>
            </a:r>
            <a:r>
              <a:rPr lang="nl-BE" noProof="0"/>
              <a:t> </a:t>
            </a:r>
            <a:r>
              <a:rPr lang="nl-BE" noProof="0" err="1"/>
              <a:t>duration</a:t>
            </a:r>
            <a:endParaRPr lang="nl-BE" noProof="0"/>
          </a:p>
          <a:p>
            <a:pPr lvl="1"/>
            <a:r>
              <a:rPr lang="nl-BE" noProof="0"/>
              <a:t>&lt;P&gt; </a:t>
            </a:r>
            <a:r>
              <a:rPr lang="nl-BE" noProof="0" err="1"/>
              <a:t>for</a:t>
            </a:r>
            <a:r>
              <a:rPr lang="nl-BE" noProof="0"/>
              <a:t> page </a:t>
            </a:r>
            <a:r>
              <a:rPr lang="nl-BE" noProof="0" err="1"/>
              <a:t>number</a:t>
            </a:r>
            <a:endParaRPr lang="nl-BE" noProof="0"/>
          </a:p>
          <a:p>
            <a:pPr lvl="0"/>
            <a:endParaRPr lang="nl-BE" noProof="0"/>
          </a:p>
          <a:p>
            <a:pPr lvl="0"/>
            <a:r>
              <a:rPr lang="nl-BE" noProof="0" err="1"/>
              <a:t>If</a:t>
            </a:r>
            <a:r>
              <a:rPr lang="nl-BE" noProof="0"/>
              <a:t> </a:t>
            </a:r>
            <a:r>
              <a:rPr lang="nl-BE" noProof="0" err="1"/>
              <a:t>you</a:t>
            </a:r>
            <a:r>
              <a:rPr lang="nl-BE" noProof="0"/>
              <a:t> want </a:t>
            </a:r>
            <a:r>
              <a:rPr lang="nl-BE" noProof="0" err="1"/>
              <a:t>the</a:t>
            </a:r>
            <a:r>
              <a:rPr lang="nl-BE" noProof="0"/>
              <a:t> agenda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be</a:t>
            </a:r>
            <a:r>
              <a:rPr lang="nl-BE" noProof="0"/>
              <a:t> </a:t>
            </a:r>
            <a:r>
              <a:rPr lang="nl-BE" noProof="0" err="1"/>
              <a:t>vertically</a:t>
            </a:r>
            <a:r>
              <a:rPr lang="nl-BE" noProof="0"/>
              <a:t> </a:t>
            </a:r>
            <a:r>
              <a:rPr lang="nl-BE" noProof="0" err="1"/>
              <a:t>centered</a:t>
            </a:r>
            <a:r>
              <a:rPr lang="nl-BE" noProof="0"/>
              <a:t> on </a:t>
            </a:r>
            <a:r>
              <a:rPr lang="nl-BE" noProof="0" err="1"/>
              <a:t>each</a:t>
            </a:r>
            <a:r>
              <a:rPr lang="nl-BE" noProof="0"/>
              <a:t> Agenda slide, </a:t>
            </a:r>
            <a:r>
              <a:rPr lang="nl-BE" noProof="0" err="1"/>
              <a:t>rename</a:t>
            </a:r>
            <a:r>
              <a:rPr lang="nl-BE" noProof="0"/>
              <a:t> </a:t>
            </a:r>
            <a:r>
              <a:rPr lang="nl-BE" noProof="0" err="1"/>
              <a:t>this</a:t>
            </a:r>
            <a:r>
              <a:rPr lang="nl-BE" noProof="0"/>
              <a:t> </a:t>
            </a:r>
            <a:r>
              <a:rPr lang="nl-BE" noProof="0" err="1"/>
              <a:t>layout</a:t>
            </a:r>
            <a:r>
              <a:rPr lang="nl-BE" noProof="0"/>
              <a:t> </a:t>
            </a:r>
            <a:r>
              <a:rPr lang="nl-BE" noProof="0" err="1"/>
              <a:t>to</a:t>
            </a:r>
            <a:r>
              <a:rPr lang="nl-BE" noProof="0"/>
              <a:t>:</a:t>
            </a:r>
          </a:p>
          <a:p>
            <a:pPr lvl="0"/>
            <a:endParaRPr lang="nl-BE" noProof="0"/>
          </a:p>
          <a:p>
            <a:pPr lvl="1"/>
            <a:r>
              <a:rPr lang="nl-BE" noProof="0"/>
              <a:t>SP Agenda </a:t>
            </a:r>
            <a:r>
              <a:rPr lang="nl-BE" noProof="0" err="1"/>
              <a:t>Vertical</a:t>
            </a:r>
            <a:endParaRPr lang="nl-BE" noProof="0"/>
          </a:p>
        </p:txBody>
      </p:sp>
      <p:grpSp>
        <p:nvGrpSpPr>
          <p:cNvPr id="6" name="SP Agenda Section" hidden="1"/>
          <p:cNvGrpSpPr>
            <a:grpSpLocks/>
          </p:cNvGrpSpPr>
          <p:nvPr userDrawn="1"/>
        </p:nvGrpSpPr>
        <p:grpSpPr>
          <a:xfrm>
            <a:off x="393701" y="1275161"/>
            <a:ext cx="6754813" cy="147161"/>
            <a:chOff x="1748382" y="2085631"/>
            <a:chExt cx="8706556" cy="369332"/>
          </a:xfrm>
        </p:grpSpPr>
        <p:sp>
          <p:nvSpPr>
            <p:cNvPr id="8" name="Textbox" hidden="1"/>
            <p:cNvSpPr txBox="1">
              <a:spLocks/>
            </p:cNvSpPr>
            <p:nvPr userDrawn="1"/>
          </p:nvSpPr>
          <p:spPr>
            <a:xfrm>
              <a:off x="2217938" y="2085631"/>
              <a:ext cx="3843347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square" lIns="0" tIns="0" rIns="0" bIns="0" rtlCol="0" anchor="ctr">
              <a:normAutofit/>
            </a:bodyPr>
            <a:lstStyle/>
            <a:p>
              <a:pPr defTabSz="5250525">
                <a:tabLst>
                  <a:tab pos="5350535" algn="l"/>
                </a:tabLst>
              </a:pPr>
              <a:r>
                <a:rPr lang="nl-BE" sz="900" b="0"/>
                <a:t>&lt;TEXT&gt;</a:t>
              </a:r>
            </a:p>
          </p:txBody>
        </p:sp>
        <p:sp>
          <p:nvSpPr>
            <p:cNvPr id="9" name="Textbox" hidden="1"/>
            <p:cNvSpPr txBox="1">
              <a:spLocks/>
            </p:cNvSpPr>
            <p:nvPr userDrawn="1"/>
          </p:nvSpPr>
          <p:spPr>
            <a:xfrm>
              <a:off x="1748382" y="2085631"/>
              <a:ext cx="379556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nl-BE" sz="900" b="0"/>
                <a:t>&lt;N&gt;</a:t>
              </a:r>
            </a:p>
          </p:txBody>
        </p:sp>
        <p:sp>
          <p:nvSpPr>
            <p:cNvPr id="10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nl-BE" sz="900" b="0"/>
                <a:t>&lt;P&gt;</a:t>
              </a:r>
            </a:p>
          </p:txBody>
        </p:sp>
        <p:sp>
          <p:nvSpPr>
            <p:cNvPr id="11" name="Textbox" hidden="1"/>
            <p:cNvSpPr txBox="1">
              <a:spLocks/>
            </p:cNvSpPr>
            <p:nvPr userDrawn="1"/>
          </p:nvSpPr>
          <p:spPr>
            <a:xfrm>
              <a:off x="7646877" y="2085631"/>
              <a:ext cx="1257061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nl-BE" sz="900" b="0"/>
                <a:t>&lt;TIMESLOT&gt;</a:t>
              </a:r>
            </a:p>
          </p:txBody>
        </p:sp>
        <p:sp>
          <p:nvSpPr>
            <p:cNvPr id="12" name="Textbox" hidden="1"/>
            <p:cNvSpPr txBox="1">
              <a:spLocks/>
            </p:cNvSpPr>
            <p:nvPr userDrawn="1"/>
          </p:nvSpPr>
          <p:spPr>
            <a:xfrm>
              <a:off x="6160048" y="2085631"/>
              <a:ext cx="1388067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nl-BE" sz="900" b="0"/>
                <a:t>&lt;RESPONSIBLE&gt;</a:t>
              </a:r>
            </a:p>
          </p:txBody>
        </p:sp>
        <p:sp>
          <p:nvSpPr>
            <p:cNvPr id="13" name="Textbox" hidden="1"/>
            <p:cNvSpPr txBox="1">
              <a:spLocks/>
            </p:cNvSpPr>
            <p:nvPr userDrawn="1"/>
          </p:nvSpPr>
          <p:spPr>
            <a:xfrm>
              <a:off x="8993939" y="2085631"/>
              <a:ext cx="684723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nl-BE" sz="900" b="0"/>
                <a:t>&lt;DURATION&gt;</a:t>
              </a:r>
            </a:p>
          </p:txBody>
        </p:sp>
      </p:grpSp>
      <p:grpSp>
        <p:nvGrpSpPr>
          <p:cNvPr id="42" name="SP Agenda Section Highlight" hidden="1"/>
          <p:cNvGrpSpPr>
            <a:grpSpLocks/>
          </p:cNvGrpSpPr>
          <p:nvPr userDrawn="1"/>
        </p:nvGrpSpPr>
        <p:grpSpPr>
          <a:xfrm>
            <a:off x="393701" y="1511381"/>
            <a:ext cx="6754813" cy="147161"/>
            <a:chOff x="1748382" y="2085631"/>
            <a:chExt cx="8706556" cy="369332"/>
          </a:xfrm>
        </p:grpSpPr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2217938" y="2085631"/>
              <a:ext cx="3843347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square" lIns="0" tIns="0" rIns="0" bIns="0" rtlCol="0" anchor="ctr">
              <a:normAutofit/>
            </a:bodyPr>
            <a:lstStyle/>
            <a:p>
              <a:pPr defTabSz="5250525">
                <a:tabLst>
                  <a:tab pos="5350535" algn="l"/>
                </a:tabLst>
              </a:pPr>
              <a:r>
                <a:rPr lang="nl-BE" sz="900" b="0"/>
                <a:t>&lt;TEXT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1748382" y="2085631"/>
              <a:ext cx="379556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nl-BE" sz="900" b="0"/>
                <a:t>&lt;N&gt;</a:t>
              </a:r>
            </a:p>
          </p:txBody>
        </p:sp>
        <p:sp>
          <p:nvSpPr>
            <p:cNvPr id="45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nl-BE" sz="900" b="0"/>
                <a:t>&lt;P&gt;</a:t>
              </a:r>
            </a:p>
          </p:txBody>
        </p:sp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7646877" y="2085631"/>
              <a:ext cx="1257061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nl-BE" sz="900" b="0"/>
                <a:t>&lt;TIMESLO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6160048" y="2085631"/>
              <a:ext cx="1388067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nl-BE" sz="900" b="0"/>
                <a:t>&lt;RESPONSIBLE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8993939" y="2085631"/>
              <a:ext cx="684723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nl-BE" sz="900" b="0"/>
                <a:t>&lt;DURATION&gt;</a:t>
              </a:r>
            </a:p>
          </p:txBody>
        </p:sp>
      </p:grpSp>
      <p:grpSp>
        <p:nvGrpSpPr>
          <p:cNvPr id="49" name="SP Agenda Subsection" hidden="1"/>
          <p:cNvGrpSpPr>
            <a:grpSpLocks/>
          </p:cNvGrpSpPr>
          <p:nvPr userDrawn="1"/>
        </p:nvGrpSpPr>
        <p:grpSpPr>
          <a:xfrm>
            <a:off x="393701" y="1747601"/>
            <a:ext cx="6754813" cy="147161"/>
            <a:chOff x="1748382" y="2085631"/>
            <a:chExt cx="8706556" cy="369332"/>
          </a:xfrm>
        </p:grpSpPr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2217938" y="2085631"/>
              <a:ext cx="3843347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square" lIns="0" tIns="0" rIns="0" bIns="0" rtlCol="0" anchor="ctr">
              <a:normAutofit/>
            </a:bodyPr>
            <a:lstStyle/>
            <a:p>
              <a:pPr marL="128588" indent="-128588" defTabSz="5250525">
                <a:buFont typeface="Arial" panose="020B0604020202020204" pitchFamily="34" charset="0"/>
                <a:buChar char="•"/>
                <a:tabLst>
                  <a:tab pos="5350535" algn="l"/>
                </a:tabLst>
              </a:pPr>
              <a:r>
                <a:rPr lang="nl-BE" sz="900" b="0"/>
                <a:t>&lt;TEXT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1748382" y="2085631"/>
              <a:ext cx="379556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nl-BE" sz="900" b="0"/>
                <a:t>&lt;N&gt;</a:t>
              </a:r>
            </a:p>
          </p:txBody>
        </p:sp>
        <p:sp>
          <p:nvSpPr>
            <p:cNvPr id="5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nl-BE" sz="900" b="0"/>
                <a:t>&lt;P&gt;</a:t>
              </a:r>
            </a:p>
          </p:txBody>
        </p:sp>
        <p:sp>
          <p:nvSpPr>
            <p:cNvPr id="53" name="Textbox" hidden="1"/>
            <p:cNvSpPr txBox="1">
              <a:spLocks/>
            </p:cNvSpPr>
            <p:nvPr userDrawn="1"/>
          </p:nvSpPr>
          <p:spPr>
            <a:xfrm>
              <a:off x="7646877" y="2085631"/>
              <a:ext cx="1257061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nl-BE" sz="900" b="0"/>
                <a:t>&lt;TIMESLOT&gt;</a:t>
              </a:r>
            </a:p>
          </p:txBody>
        </p:sp>
        <p:sp>
          <p:nvSpPr>
            <p:cNvPr id="54" name="Textbox" hidden="1"/>
            <p:cNvSpPr txBox="1">
              <a:spLocks/>
            </p:cNvSpPr>
            <p:nvPr userDrawn="1"/>
          </p:nvSpPr>
          <p:spPr>
            <a:xfrm>
              <a:off x="6160048" y="2085631"/>
              <a:ext cx="1388067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nl-BE" sz="900" b="0"/>
                <a:t>&lt;RESPONSIBLE&gt;</a:t>
              </a:r>
            </a:p>
          </p:txBody>
        </p:sp>
        <p:sp>
          <p:nvSpPr>
            <p:cNvPr id="55" name="Textbox" hidden="1"/>
            <p:cNvSpPr txBox="1">
              <a:spLocks/>
            </p:cNvSpPr>
            <p:nvPr userDrawn="1"/>
          </p:nvSpPr>
          <p:spPr>
            <a:xfrm>
              <a:off x="8993939" y="2085631"/>
              <a:ext cx="684723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nl-BE" sz="900" b="0"/>
                <a:t>&lt;DURATION&gt;</a:t>
              </a:r>
            </a:p>
          </p:txBody>
        </p:sp>
      </p:grpSp>
      <p:grpSp>
        <p:nvGrpSpPr>
          <p:cNvPr id="56" name="SP Agenda Subsection Highlight" hidden="1"/>
          <p:cNvGrpSpPr/>
          <p:nvPr userDrawn="1"/>
        </p:nvGrpSpPr>
        <p:grpSpPr>
          <a:xfrm>
            <a:off x="393701" y="1983821"/>
            <a:ext cx="6754813" cy="147161"/>
            <a:chOff x="1748382" y="2085631"/>
            <a:chExt cx="8706556" cy="369332"/>
          </a:xfrm>
        </p:grpSpPr>
        <p:sp>
          <p:nvSpPr>
            <p:cNvPr id="57" name="Textbox" hidden="1"/>
            <p:cNvSpPr txBox="1">
              <a:spLocks/>
            </p:cNvSpPr>
            <p:nvPr userDrawn="1"/>
          </p:nvSpPr>
          <p:spPr>
            <a:xfrm>
              <a:off x="2217938" y="2085631"/>
              <a:ext cx="3843347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square" lIns="0" tIns="0" rIns="0" bIns="0" rtlCol="0" anchor="ctr">
              <a:normAutofit/>
            </a:bodyPr>
            <a:lstStyle/>
            <a:p>
              <a:pPr marL="128588" indent="-128588" defTabSz="5250525">
                <a:buFont typeface="Arial" panose="020B0604020202020204" pitchFamily="34" charset="0"/>
                <a:buChar char="•"/>
                <a:tabLst>
                  <a:tab pos="5350535" algn="l"/>
                </a:tabLst>
              </a:pPr>
              <a:r>
                <a:rPr lang="nl-BE" sz="900" b="0"/>
                <a:t>&lt;TEXT&gt;</a:t>
              </a:r>
            </a:p>
          </p:txBody>
        </p:sp>
        <p:sp>
          <p:nvSpPr>
            <p:cNvPr id="58" name="Textbox" hidden="1"/>
            <p:cNvSpPr txBox="1">
              <a:spLocks/>
            </p:cNvSpPr>
            <p:nvPr userDrawn="1"/>
          </p:nvSpPr>
          <p:spPr>
            <a:xfrm>
              <a:off x="1748382" y="2085631"/>
              <a:ext cx="379556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nl-BE" sz="900" b="0"/>
                <a:t>&lt;N&gt;</a:t>
              </a:r>
            </a:p>
          </p:txBody>
        </p:sp>
        <p:sp>
          <p:nvSpPr>
            <p:cNvPr id="59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nl-BE" sz="900" b="0"/>
                <a:t>&lt;P&gt;</a:t>
              </a:r>
            </a:p>
          </p:txBody>
        </p:sp>
        <p:sp>
          <p:nvSpPr>
            <p:cNvPr id="60" name="Textbox" hidden="1"/>
            <p:cNvSpPr txBox="1">
              <a:spLocks/>
            </p:cNvSpPr>
            <p:nvPr userDrawn="1"/>
          </p:nvSpPr>
          <p:spPr>
            <a:xfrm>
              <a:off x="7646877" y="2085631"/>
              <a:ext cx="1257061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nl-BE" sz="900" b="0"/>
                <a:t>&lt;TIMESLOT&gt;</a:t>
              </a:r>
            </a:p>
          </p:txBody>
        </p:sp>
        <p:sp>
          <p:nvSpPr>
            <p:cNvPr id="61" name="Textbox" hidden="1"/>
            <p:cNvSpPr txBox="1">
              <a:spLocks/>
            </p:cNvSpPr>
            <p:nvPr userDrawn="1"/>
          </p:nvSpPr>
          <p:spPr>
            <a:xfrm>
              <a:off x="6160048" y="2085631"/>
              <a:ext cx="1388067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nl-BE" sz="900" b="0"/>
                <a:t>&lt;RESPONSIBLE&gt;</a:t>
              </a:r>
            </a:p>
          </p:txBody>
        </p:sp>
        <p:sp>
          <p:nvSpPr>
            <p:cNvPr id="62" name="Textbox" hidden="1"/>
            <p:cNvSpPr txBox="1">
              <a:spLocks/>
            </p:cNvSpPr>
            <p:nvPr userDrawn="1"/>
          </p:nvSpPr>
          <p:spPr>
            <a:xfrm>
              <a:off x="8993939" y="2085631"/>
              <a:ext cx="684723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nl-BE" sz="900" b="0"/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8706435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203651" y="1275160"/>
            <a:ext cx="4587925" cy="3449241"/>
          </a:xfrm>
        </p:spPr>
        <p:txBody>
          <a:bodyPr/>
          <a:lstStyle/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248968"/>
            <a:ext cx="3250247" cy="347543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181207950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248968"/>
            <a:ext cx="8439150" cy="34754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412035888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249364"/>
            <a:ext cx="8439150" cy="3475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</p:spTree>
    <p:extLst>
      <p:ext uri="{BB962C8B-B14F-4D97-AF65-F5344CB8AC3E}">
        <p14:creationId xmlns:p14="http://schemas.microsoft.com/office/powerpoint/2010/main" val="404829834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257302"/>
            <a:ext cx="8439150" cy="34670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4492617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1540936"/>
            <a:ext cx="8439150" cy="2946157"/>
          </a:xfrm>
          <a:prstGeom prst="rect">
            <a:avLst/>
          </a:prstGeom>
        </p:spPr>
        <p:txBody>
          <a:bodyPr/>
          <a:lstStyle/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chart</a:t>
            </a:r>
            <a:endParaRPr lang="nl-BE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244862"/>
            <a:ext cx="8439150" cy="267890"/>
          </a:xfrm>
        </p:spPr>
        <p:txBody>
          <a:bodyPr/>
          <a:lstStyle/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0" y="4487093"/>
            <a:ext cx="8439151" cy="23730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313554370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1539000"/>
            <a:ext cx="2700000" cy="2948093"/>
          </a:xfrm>
          <a:prstGeom prst="rect">
            <a:avLst/>
          </a:prstGeom>
        </p:spPr>
        <p:txBody>
          <a:bodyPr/>
          <a:lstStyle/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chart</a:t>
            </a:r>
            <a:endParaRPr lang="nl-BE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248967"/>
            <a:ext cx="2700000" cy="294084"/>
          </a:xfrm>
        </p:spPr>
        <p:txBody>
          <a:bodyPr/>
          <a:lstStyle/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1538999"/>
            <a:ext cx="2700000" cy="2948093"/>
          </a:xfrm>
          <a:prstGeom prst="rect">
            <a:avLst/>
          </a:prstGeom>
        </p:spPr>
        <p:txBody>
          <a:bodyPr/>
          <a:lstStyle/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chart</a:t>
            </a:r>
            <a:endParaRPr lang="nl-BE" noProof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248966"/>
            <a:ext cx="2700000" cy="294084"/>
          </a:xfrm>
        </p:spPr>
        <p:txBody>
          <a:bodyPr/>
          <a:lstStyle/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1539000"/>
            <a:ext cx="2700000" cy="2948093"/>
          </a:xfrm>
          <a:prstGeom prst="rect">
            <a:avLst/>
          </a:prstGeom>
        </p:spPr>
        <p:txBody>
          <a:bodyPr/>
          <a:lstStyle/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chart</a:t>
            </a:r>
            <a:endParaRPr lang="nl-BE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244359"/>
            <a:ext cx="2700000" cy="298692"/>
          </a:xfrm>
        </p:spPr>
        <p:txBody>
          <a:bodyPr/>
          <a:lstStyle/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0" y="4487093"/>
            <a:ext cx="8439151" cy="23730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14656534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51000" y="1248967"/>
            <a:ext cx="3996000" cy="3466880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242001"/>
            <a:ext cx="3996000" cy="3473846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343092697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248966"/>
            <a:ext cx="3996000" cy="3475434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248966"/>
            <a:ext cx="3996000" cy="3475434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194587655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248966"/>
            <a:ext cx="4110300" cy="3238127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1593760"/>
            <a:ext cx="4111887" cy="2893333"/>
          </a:xfrm>
        </p:spPr>
        <p:txBody>
          <a:bodyPr>
            <a:noAutofit/>
          </a:bodyPr>
          <a:lstStyle/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chart</a:t>
            </a:r>
            <a:endParaRPr lang="nl-BE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8" y="1241823"/>
            <a:ext cx="4111887" cy="315515"/>
          </a:xfrm>
        </p:spPr>
        <p:txBody>
          <a:bodyPr>
            <a:noAutofit/>
          </a:bodyPr>
          <a:lstStyle/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0" y="4487093"/>
            <a:ext cx="8439151" cy="23730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5791223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r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>
            <a:extLst>
              <a:ext uri="{FF2B5EF4-FFF2-40B4-BE49-F238E27FC236}">
                <a16:creationId xmlns:a16="http://schemas.microsoft.com/office/drawing/2014/main" id="{34D6337E-C64B-FC4D-97A5-DF801AE6CE3E}"/>
              </a:ext>
            </a:extLst>
          </p:cNvPr>
          <p:cNvSpPr/>
          <p:nvPr userDrawn="1"/>
        </p:nvSpPr>
        <p:spPr>
          <a:xfrm>
            <a:off x="-7474" y="-1"/>
            <a:ext cx="9151474" cy="5143501"/>
          </a:xfrm>
          <a:custGeom>
            <a:avLst/>
            <a:gdLst>
              <a:gd name="connsiteX0" fmla="*/ 4478466 w 9151474"/>
              <a:gd name="connsiteY0" fmla="*/ 0 h 5143501"/>
              <a:gd name="connsiteX1" fmla="*/ 9151474 w 9151474"/>
              <a:gd name="connsiteY1" fmla="*/ 0 h 5143501"/>
              <a:gd name="connsiteX2" fmla="*/ 6201265 w 9151474"/>
              <a:gd name="connsiteY2" fmla="*/ 5143501 h 5143501"/>
              <a:gd name="connsiteX3" fmla="*/ 4579474 w 9151474"/>
              <a:gd name="connsiteY3" fmla="*/ 5143501 h 5143501"/>
              <a:gd name="connsiteX4" fmla="*/ 1528257 w 9151474"/>
              <a:gd name="connsiteY4" fmla="*/ 5143501 h 5143501"/>
              <a:gd name="connsiteX5" fmla="*/ 0 w 9151474"/>
              <a:gd name="connsiteY5" fmla="*/ 5143501 h 5143501"/>
              <a:gd name="connsiteX6" fmla="*/ 0 w 9151474"/>
              <a:gd name="connsiteY6" fmla="*/ 1 h 5143501"/>
              <a:gd name="connsiteX7" fmla="*/ 4478466 w 9151474"/>
              <a:gd name="connsiteY7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1474" h="5143501">
                <a:moveTo>
                  <a:pt x="4478466" y="0"/>
                </a:moveTo>
                <a:lnTo>
                  <a:pt x="9151474" y="0"/>
                </a:lnTo>
                <a:lnTo>
                  <a:pt x="6201265" y="5143501"/>
                </a:lnTo>
                <a:lnTo>
                  <a:pt x="4579474" y="5143501"/>
                </a:lnTo>
                <a:lnTo>
                  <a:pt x="1528257" y="5143501"/>
                </a:lnTo>
                <a:lnTo>
                  <a:pt x="0" y="5143501"/>
                </a:lnTo>
                <a:lnTo>
                  <a:pt x="0" y="1"/>
                </a:lnTo>
                <a:lnTo>
                  <a:pt x="4478466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362186" y="0"/>
            <a:ext cx="4419628" cy="5143500"/>
          </a:xfrm>
        </p:spPr>
        <p:txBody>
          <a:bodyPr anchor="ctr" anchorCtr="0">
            <a:noAutofit/>
          </a:bodyPr>
          <a:lstStyle>
            <a:lvl1pPr algn="l">
              <a:lnSpc>
                <a:spcPts val="3000"/>
              </a:lnSpc>
              <a:defRPr sz="2800" baseline="0">
                <a:solidFill>
                  <a:srgbClr val="F0A200"/>
                </a:solidFill>
                <a:latin typeface="+mj-lt"/>
                <a:cs typeface="Calibri"/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7187184" y="3464572"/>
            <a:ext cx="1682496" cy="1427467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 algn="r">
              <a:lnSpc>
                <a:spcPts val="2300"/>
              </a:lnSpc>
              <a:spcBef>
                <a:spcPts val="0"/>
              </a:spcBef>
              <a:buNone/>
              <a:defRPr sz="2000" b="1">
                <a:solidFill>
                  <a:schemeClr val="accent5"/>
                </a:solidFill>
                <a:latin typeface="FlandersArtSans-Regular" panose="00000500000000000000" pitchFamily="2" charset="0"/>
                <a:cs typeface="Calibri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8D4A95-E83E-44C6-1339-C0C5AE83A4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6894" y="1700197"/>
            <a:ext cx="1740924" cy="17431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283BA7E-5186-3001-571D-3E95257EC3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4647" y="4480983"/>
            <a:ext cx="759058" cy="35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66711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1593760"/>
            <a:ext cx="4111887" cy="2893333"/>
          </a:xfrm>
        </p:spPr>
        <p:txBody>
          <a:bodyPr>
            <a:noAutofit/>
          </a:bodyPr>
          <a:lstStyle/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chart</a:t>
            </a:r>
            <a:endParaRPr lang="nl-BE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240522"/>
            <a:ext cx="4111887" cy="315515"/>
          </a:xfrm>
        </p:spPr>
        <p:txBody>
          <a:bodyPr>
            <a:noAutofit/>
          </a:bodyPr>
          <a:lstStyle/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2425" y="1593760"/>
            <a:ext cx="4111888" cy="2893333"/>
          </a:xfrm>
        </p:spPr>
        <p:txBody>
          <a:bodyPr>
            <a:noAutofit/>
          </a:bodyPr>
          <a:lstStyle/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chart</a:t>
            </a:r>
            <a:endParaRPr lang="nl-BE" noProof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52424" y="1248967"/>
            <a:ext cx="4111888" cy="307070"/>
          </a:xfrm>
        </p:spPr>
        <p:txBody>
          <a:bodyPr>
            <a:noAutofit/>
          </a:bodyPr>
          <a:lstStyle/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0" y="4487093"/>
            <a:ext cx="8439151" cy="23730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169941614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248967"/>
            <a:ext cx="3323893" cy="347543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275160"/>
            <a:ext cx="4680000" cy="3449242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18478921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219575"/>
            <a:ext cx="3200237" cy="3504826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5" y="1248966"/>
            <a:ext cx="4995650" cy="3475435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3099176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6557" y="1275160"/>
            <a:ext cx="1998000" cy="945000"/>
          </a:xfrm>
        </p:spPr>
        <p:txBody>
          <a:bodyPr lIns="0" tIns="0" rIns="0" bIns="0">
            <a:noAutofit/>
          </a:bodyPr>
          <a:lstStyle/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5780" y="1275159"/>
            <a:ext cx="1998000" cy="945000"/>
          </a:xfrm>
        </p:spPr>
        <p:txBody>
          <a:bodyPr lIns="0" tIns="0" rIns="0" bIns="0">
            <a:noAutofit/>
          </a:bodyPr>
          <a:lstStyle/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45004" y="1275159"/>
            <a:ext cx="1998000" cy="945000"/>
          </a:xfrm>
        </p:spPr>
        <p:txBody>
          <a:bodyPr lIns="0" tIns="0" rIns="0" bIns="0">
            <a:noAutofit/>
          </a:bodyPr>
          <a:lstStyle/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84227" y="1275159"/>
            <a:ext cx="1998000" cy="945000"/>
          </a:xfrm>
        </p:spPr>
        <p:txBody>
          <a:bodyPr lIns="0" tIns="0" rIns="0" bIns="0">
            <a:noAutofit/>
          </a:bodyPr>
          <a:lstStyle/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61772" y="2307430"/>
            <a:ext cx="1980000" cy="241697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55408" y="2309807"/>
            <a:ext cx="1980000" cy="241697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590" y="2307430"/>
            <a:ext cx="1980000" cy="241697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02227" y="2309807"/>
            <a:ext cx="1980000" cy="241697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86811755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57585" y="1277897"/>
            <a:ext cx="41526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nl-BE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38675" y="1277897"/>
            <a:ext cx="41526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nl-BE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52425" y="3048880"/>
            <a:ext cx="41526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nl-BE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38675" y="3048880"/>
            <a:ext cx="41526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nl-BE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57585" y="1410160"/>
            <a:ext cx="1587600" cy="1193400"/>
          </a:xfrm>
        </p:spPr>
        <p:txBody>
          <a:bodyPr/>
          <a:lstStyle>
            <a:lvl1pPr algn="ctr">
              <a:defRPr/>
            </a:lvl1pPr>
          </a:lstStyle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53073" y="1410159"/>
            <a:ext cx="1587600" cy="1193400"/>
          </a:xfrm>
        </p:spPr>
        <p:txBody>
          <a:bodyPr/>
          <a:lstStyle>
            <a:lvl1pPr algn="ctr">
              <a:defRPr/>
            </a:lvl1pPr>
          </a:lstStyle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61334" y="3192158"/>
            <a:ext cx="1587600" cy="1193400"/>
          </a:xfrm>
        </p:spPr>
        <p:txBody>
          <a:bodyPr/>
          <a:lstStyle>
            <a:lvl1pPr algn="ctr">
              <a:defRPr/>
            </a:lvl1pPr>
          </a:lstStyle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53073" y="3192158"/>
            <a:ext cx="1587600" cy="1193400"/>
          </a:xfrm>
        </p:spPr>
        <p:txBody>
          <a:bodyPr/>
          <a:lstStyle>
            <a:lvl1pPr algn="ctr">
              <a:defRPr/>
            </a:lvl1pPr>
          </a:lstStyle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130585" y="1410160"/>
            <a:ext cx="2379600" cy="1458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413007" y="1410160"/>
            <a:ext cx="2378268" cy="1458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101913" y="3192160"/>
            <a:ext cx="2379600" cy="1458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411675" y="3192159"/>
            <a:ext cx="2379600" cy="1458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406569633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2425" y="1275160"/>
            <a:ext cx="2720579" cy="1539623"/>
          </a:xfrm>
        </p:spPr>
        <p:txBody>
          <a:bodyPr/>
          <a:lstStyle/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8" y="1275160"/>
            <a:ext cx="2729487" cy="1544324"/>
          </a:xfrm>
        </p:spPr>
        <p:txBody>
          <a:bodyPr/>
          <a:lstStyle/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1" y="1275160"/>
            <a:ext cx="2727722" cy="1543325"/>
          </a:xfrm>
        </p:spPr>
        <p:txBody>
          <a:bodyPr/>
          <a:lstStyle/>
          <a:p>
            <a:r>
              <a:rPr lang="nl-BE" noProof="0"/>
              <a:t>Click icon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52425" y="2874169"/>
            <a:ext cx="2720579" cy="1636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2874168"/>
            <a:ext cx="2727722" cy="16400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8" y="2874168"/>
            <a:ext cx="2729487" cy="16410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295779833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120896363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393420"/>
            <a:ext cx="4158000" cy="1271588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393420"/>
            <a:ext cx="4158000" cy="1271588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52424" y="1279034"/>
            <a:ext cx="4158000" cy="397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nl-BE" sz="1100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279034"/>
            <a:ext cx="4158000" cy="397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nl-BE" sz="1100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393419"/>
            <a:ext cx="933121" cy="411956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nl-BE" sz="1200" noProof="0">
                <a:solidFill>
                  <a:schemeClr val="bg1"/>
                </a:solidFill>
              </a:rPr>
              <a:t>Co-brand</a:t>
            </a:r>
            <a:br>
              <a:rPr lang="nl-BE" sz="1200" noProof="0">
                <a:solidFill>
                  <a:schemeClr val="bg1"/>
                </a:solidFill>
              </a:rPr>
            </a:br>
            <a:r>
              <a:rPr lang="nl-BE" sz="1200" noProof="0">
                <a:solidFill>
                  <a:schemeClr val="bg1"/>
                </a:solidFill>
              </a:rPr>
              <a:t>Logo</a:t>
            </a:r>
          </a:p>
          <a:p>
            <a:endParaRPr lang="nl-BE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397938"/>
            <a:ext cx="933680" cy="411956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nl-BE" sz="1200" noProof="0">
                <a:solidFill>
                  <a:schemeClr val="bg1"/>
                </a:solidFill>
              </a:rPr>
              <a:t>Co-brand</a:t>
            </a:r>
            <a:br>
              <a:rPr lang="nl-BE" sz="1200" noProof="0">
                <a:solidFill>
                  <a:schemeClr val="bg1"/>
                </a:solidFill>
              </a:rPr>
            </a:br>
            <a:r>
              <a:rPr lang="nl-BE" sz="1200" noProof="0">
                <a:solidFill>
                  <a:schemeClr val="bg1"/>
                </a:solidFill>
              </a:rPr>
              <a:t>Logo</a:t>
            </a:r>
          </a:p>
          <a:p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346963022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393420"/>
            <a:ext cx="4158000" cy="1271588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393420"/>
            <a:ext cx="4158000" cy="1271588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52424" y="1279034"/>
            <a:ext cx="4158000" cy="397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nl-BE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279034"/>
            <a:ext cx="4158000" cy="397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nl-BE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393419"/>
            <a:ext cx="933121" cy="411956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nl-BE" sz="1200" noProof="0">
                <a:solidFill>
                  <a:schemeClr val="bg1"/>
                </a:solidFill>
              </a:rPr>
              <a:t>Co-brand</a:t>
            </a:r>
            <a:br>
              <a:rPr lang="nl-BE" sz="1200" noProof="0">
                <a:solidFill>
                  <a:schemeClr val="bg1"/>
                </a:solidFill>
              </a:rPr>
            </a:br>
            <a:r>
              <a:rPr lang="nl-BE" sz="1200" noProof="0">
                <a:solidFill>
                  <a:schemeClr val="bg1"/>
                </a:solidFill>
              </a:rPr>
              <a:t>Logo</a:t>
            </a:r>
          </a:p>
          <a:p>
            <a:endParaRPr lang="nl-BE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52424" y="3187261"/>
            <a:ext cx="4158000" cy="1271588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3187261"/>
            <a:ext cx="4158000" cy="1271588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52424" y="3077639"/>
            <a:ext cx="41580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nl-BE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3077639"/>
            <a:ext cx="41580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nl-BE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7" y="3187263"/>
            <a:ext cx="956187" cy="411956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nl-BE" sz="1200" noProof="0">
                <a:solidFill>
                  <a:schemeClr val="bg1"/>
                </a:solidFill>
              </a:rPr>
              <a:t>Co-brand</a:t>
            </a:r>
            <a:br>
              <a:rPr lang="nl-BE" sz="1200" noProof="0">
                <a:solidFill>
                  <a:schemeClr val="bg1"/>
                </a:solidFill>
              </a:rPr>
            </a:br>
            <a:r>
              <a:rPr lang="nl-BE" sz="1200" noProof="0">
                <a:solidFill>
                  <a:schemeClr val="bg1"/>
                </a:solidFill>
              </a:rPr>
              <a:t>Logo</a:t>
            </a:r>
          </a:p>
          <a:p>
            <a:endParaRPr lang="nl-BE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3186157"/>
            <a:ext cx="933120" cy="411956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nl-BE" sz="1200" noProof="0">
                <a:solidFill>
                  <a:schemeClr val="bg1"/>
                </a:solidFill>
              </a:rPr>
              <a:t>Co-brand</a:t>
            </a:r>
            <a:br>
              <a:rPr lang="nl-BE" sz="1200" noProof="0">
                <a:solidFill>
                  <a:schemeClr val="bg1"/>
                </a:solidFill>
              </a:rPr>
            </a:br>
            <a:r>
              <a:rPr lang="nl-BE" sz="1200" noProof="0">
                <a:solidFill>
                  <a:schemeClr val="bg1"/>
                </a:solidFill>
              </a:rPr>
              <a:t>Logo</a:t>
            </a:r>
          </a:p>
          <a:p>
            <a:endParaRPr lang="nl-BE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397938"/>
            <a:ext cx="933680" cy="411956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nl-BE" sz="1200" noProof="0">
                <a:solidFill>
                  <a:schemeClr val="bg1"/>
                </a:solidFill>
              </a:rPr>
              <a:t>Co-brand</a:t>
            </a:r>
            <a:br>
              <a:rPr lang="nl-BE" sz="1200" noProof="0">
                <a:solidFill>
                  <a:schemeClr val="bg1"/>
                </a:solidFill>
              </a:rPr>
            </a:br>
            <a:r>
              <a:rPr lang="nl-BE" sz="1200" noProof="0">
                <a:solidFill>
                  <a:schemeClr val="bg1"/>
                </a:solidFill>
              </a:rPr>
              <a:t>Logo</a:t>
            </a:r>
          </a:p>
          <a:p>
            <a:endParaRPr lang="nl-BE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185404760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279476"/>
            <a:ext cx="2727722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nl-BE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5" y="1279476"/>
            <a:ext cx="2720579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nl-BE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2" y="1279476"/>
            <a:ext cx="2721769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nl-BE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388581"/>
            <a:ext cx="2727722" cy="288431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5" y="1388581"/>
            <a:ext cx="2720579" cy="288431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7" y="1388581"/>
            <a:ext cx="2721769" cy="288431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7749126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>
            <a:extLst>
              <a:ext uri="{FF2B5EF4-FFF2-40B4-BE49-F238E27FC236}">
                <a16:creationId xmlns:a16="http://schemas.microsoft.com/office/drawing/2014/main" id="{C5F95DE6-E96E-718D-5E56-38BBA0F68CA7}"/>
              </a:ext>
            </a:extLst>
          </p:cNvPr>
          <p:cNvSpPr/>
          <p:nvPr userDrawn="1"/>
        </p:nvSpPr>
        <p:spPr>
          <a:xfrm flipH="1">
            <a:off x="1484640" y="216001"/>
            <a:ext cx="7395201" cy="4699106"/>
          </a:xfrm>
          <a:custGeom>
            <a:avLst/>
            <a:gdLst>
              <a:gd name="connsiteX0" fmla="*/ 5578103 w 7371359"/>
              <a:gd name="connsiteY0" fmla="*/ 0 h 4699106"/>
              <a:gd name="connsiteX1" fmla="*/ 5571359 w 7371359"/>
              <a:gd name="connsiteY1" fmla="*/ 0 h 4699106"/>
              <a:gd name="connsiteX2" fmla="*/ 0 w 7371359"/>
              <a:gd name="connsiteY2" fmla="*/ 0 h 4699106"/>
              <a:gd name="connsiteX3" fmla="*/ 0 w 7371359"/>
              <a:gd name="connsiteY3" fmla="*/ 4699106 h 4699106"/>
              <a:gd name="connsiteX4" fmla="*/ 5578103 w 7371359"/>
              <a:gd name="connsiteY4" fmla="*/ 4699106 h 4699106"/>
              <a:gd name="connsiteX5" fmla="*/ 5578103 w 7371359"/>
              <a:gd name="connsiteY5" fmla="*/ 4698000 h 4699106"/>
              <a:gd name="connsiteX6" fmla="*/ 7371359 w 7371359"/>
              <a:gd name="connsiteY6" fmla="*/ 4698000 h 4699106"/>
              <a:gd name="connsiteX7" fmla="*/ 5578103 w 7371359"/>
              <a:gd name="connsiteY7" fmla="*/ 17602 h 4699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71359" h="4699106">
                <a:moveTo>
                  <a:pt x="5578103" y="0"/>
                </a:moveTo>
                <a:lnTo>
                  <a:pt x="5571359" y="0"/>
                </a:lnTo>
                <a:lnTo>
                  <a:pt x="0" y="0"/>
                </a:lnTo>
                <a:lnTo>
                  <a:pt x="0" y="4699106"/>
                </a:lnTo>
                <a:lnTo>
                  <a:pt x="5578103" y="4699106"/>
                </a:lnTo>
                <a:lnTo>
                  <a:pt x="5578103" y="4698000"/>
                </a:lnTo>
                <a:lnTo>
                  <a:pt x="7371359" y="4698000"/>
                </a:lnTo>
                <a:lnTo>
                  <a:pt x="5578103" y="17602"/>
                </a:lnTo>
                <a:close/>
              </a:path>
            </a:pathLst>
          </a:custGeom>
          <a:solidFill>
            <a:srgbClr val="D26E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350">
              <a:ln>
                <a:solidFill>
                  <a:srgbClr val="543F5E"/>
                </a:solidFill>
              </a:ln>
              <a:latin typeface="FlandersArtSans-Regular" panose="00000500000000000000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996052" y="1578431"/>
            <a:ext cx="3816000" cy="1863000"/>
          </a:xfrm>
        </p:spPr>
        <p:txBody>
          <a:bodyPr anchor="t" anchorCtr="0">
            <a:noAutofit/>
          </a:bodyPr>
          <a:lstStyle>
            <a:lvl1pPr algn="l">
              <a:lnSpc>
                <a:spcPts val="4050"/>
              </a:lnSpc>
              <a:defRPr sz="4050" baseline="0">
                <a:solidFill>
                  <a:schemeClr val="bg1"/>
                </a:solidFill>
                <a:latin typeface="+mj-lt"/>
                <a:cs typeface="Calibri"/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000832" y="3473717"/>
            <a:ext cx="3816000" cy="918000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l">
              <a:lnSpc>
                <a:spcPts val="1320"/>
              </a:lnSpc>
              <a:spcBef>
                <a:spcPts val="0"/>
              </a:spcBef>
              <a:buNone/>
              <a:defRPr sz="1185">
                <a:solidFill>
                  <a:schemeClr val="bg1"/>
                </a:solidFill>
                <a:latin typeface="FlandersArtSans-Regular" panose="00000500000000000000" pitchFamily="2" charset="0"/>
                <a:cs typeface="Calibri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ken om de ondertitelstijl van het model te bewerken</a:t>
            </a:r>
            <a:endParaRPr lang="nl-BE"/>
          </a:p>
        </p:txBody>
      </p:sp>
      <p:sp>
        <p:nvSpPr>
          <p:cNvPr id="12" name="Tijdelijke aanduiding voor tekst 2"/>
          <p:cNvSpPr>
            <a:spLocks noGrp="1"/>
          </p:cNvSpPr>
          <p:nvPr>
            <p:ph idx="12" hasCustomPrompt="1"/>
          </p:nvPr>
        </p:nvSpPr>
        <p:spPr>
          <a:xfrm>
            <a:off x="3636022" y="4533079"/>
            <a:ext cx="4773240" cy="264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r">
              <a:buFontTx/>
              <a:buNone/>
              <a:defRPr sz="1275">
                <a:solidFill>
                  <a:schemeClr val="bg1"/>
                </a:solidFill>
                <a:latin typeface="FlandersArtSans-Regular" panose="00000500000000000000" pitchFamily="2" charset="0"/>
                <a:cs typeface="Calibri"/>
              </a:defRPr>
            </a:lvl1pPr>
            <a:lvl5pPr algn="r">
              <a:defRPr>
                <a:solidFill>
                  <a:schemeClr val="bg1"/>
                </a:solidFill>
                <a:latin typeface="FlandersArtSans-Regular" panose="00000500000000000000" pitchFamily="2" charset="0"/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4"/>
            <a:endParaRPr lang="nl-BE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CAC0CDA-8056-9054-E434-C07CB88CA7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4158" y="4544299"/>
            <a:ext cx="759058" cy="35771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C8818CD-5753-80A7-FC90-F472FFD1A9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65005" y="546369"/>
            <a:ext cx="1821067" cy="70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5268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r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>
            <a:extLst>
              <a:ext uri="{FF2B5EF4-FFF2-40B4-BE49-F238E27FC236}">
                <a16:creationId xmlns:a16="http://schemas.microsoft.com/office/drawing/2014/main" id="{34D6337E-C64B-FC4D-97A5-DF801AE6CE3E}"/>
              </a:ext>
            </a:extLst>
          </p:cNvPr>
          <p:cNvSpPr/>
          <p:nvPr userDrawn="1"/>
        </p:nvSpPr>
        <p:spPr>
          <a:xfrm>
            <a:off x="-7474" y="-1"/>
            <a:ext cx="9151474" cy="5143501"/>
          </a:xfrm>
          <a:custGeom>
            <a:avLst/>
            <a:gdLst>
              <a:gd name="connsiteX0" fmla="*/ 4478466 w 9151474"/>
              <a:gd name="connsiteY0" fmla="*/ 0 h 5143501"/>
              <a:gd name="connsiteX1" fmla="*/ 9151474 w 9151474"/>
              <a:gd name="connsiteY1" fmla="*/ 0 h 5143501"/>
              <a:gd name="connsiteX2" fmla="*/ 6201265 w 9151474"/>
              <a:gd name="connsiteY2" fmla="*/ 5143501 h 5143501"/>
              <a:gd name="connsiteX3" fmla="*/ 4579474 w 9151474"/>
              <a:gd name="connsiteY3" fmla="*/ 5143501 h 5143501"/>
              <a:gd name="connsiteX4" fmla="*/ 1528257 w 9151474"/>
              <a:gd name="connsiteY4" fmla="*/ 5143501 h 5143501"/>
              <a:gd name="connsiteX5" fmla="*/ 0 w 9151474"/>
              <a:gd name="connsiteY5" fmla="*/ 5143501 h 5143501"/>
              <a:gd name="connsiteX6" fmla="*/ 0 w 9151474"/>
              <a:gd name="connsiteY6" fmla="*/ 1 h 5143501"/>
              <a:gd name="connsiteX7" fmla="*/ 4478466 w 9151474"/>
              <a:gd name="connsiteY7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1474" h="5143501">
                <a:moveTo>
                  <a:pt x="4478466" y="0"/>
                </a:moveTo>
                <a:lnTo>
                  <a:pt x="9151474" y="0"/>
                </a:lnTo>
                <a:lnTo>
                  <a:pt x="6201265" y="5143501"/>
                </a:lnTo>
                <a:lnTo>
                  <a:pt x="4579474" y="5143501"/>
                </a:lnTo>
                <a:lnTo>
                  <a:pt x="1528257" y="5143501"/>
                </a:lnTo>
                <a:lnTo>
                  <a:pt x="0" y="5143501"/>
                </a:lnTo>
                <a:lnTo>
                  <a:pt x="0" y="1"/>
                </a:lnTo>
                <a:lnTo>
                  <a:pt x="4478466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362186" y="0"/>
            <a:ext cx="4419628" cy="5143500"/>
          </a:xfrm>
        </p:spPr>
        <p:txBody>
          <a:bodyPr anchor="ctr" anchorCtr="0">
            <a:noAutofit/>
          </a:bodyPr>
          <a:lstStyle>
            <a:lvl1pPr algn="l">
              <a:lnSpc>
                <a:spcPts val="3000"/>
              </a:lnSpc>
              <a:defRPr sz="2800" baseline="0">
                <a:solidFill>
                  <a:srgbClr val="D36D24"/>
                </a:solidFill>
                <a:latin typeface="+mj-lt"/>
                <a:cs typeface="Calibri"/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7187184" y="3464572"/>
            <a:ext cx="1682496" cy="1427467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 algn="r">
              <a:lnSpc>
                <a:spcPts val="2300"/>
              </a:lnSpc>
              <a:spcBef>
                <a:spcPts val="0"/>
              </a:spcBef>
              <a:buNone/>
              <a:defRPr sz="2000" b="1">
                <a:solidFill>
                  <a:schemeClr val="accent6"/>
                </a:solidFill>
                <a:latin typeface="FlandersArtSans-Regular" panose="00000500000000000000" pitchFamily="2" charset="0"/>
                <a:cs typeface="Calibri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8D4A95-E83E-44C6-1339-C0C5AE83A4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6894" y="1700197"/>
            <a:ext cx="1740923" cy="17431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98EE22C-8333-79F5-6EA3-4F619AACA7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4647" y="4480983"/>
            <a:ext cx="759058" cy="35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68300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5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5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422913306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7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6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751388" y="4857751"/>
            <a:ext cx="367242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/>
                </a:solidFill>
              </a:rPr>
              <a:t>Presentation </a:t>
            </a:r>
            <a:r>
              <a:rPr lang="nl-BE" sz="488" noProof="0" err="1">
                <a:solidFill>
                  <a:schemeClr val="bg1"/>
                </a:solidFill>
              </a:rPr>
              <a:t>title</a:t>
            </a:r>
            <a:br>
              <a:rPr lang="nl-BE" sz="488" noProof="0">
                <a:solidFill>
                  <a:schemeClr val="bg1"/>
                </a:solidFill>
              </a:rPr>
            </a:br>
            <a:r>
              <a:rPr lang="nl-BE" sz="488" noProof="0">
                <a:solidFill>
                  <a:schemeClr val="bg1"/>
                </a:solidFill>
              </a:rPr>
              <a:t>[</a:t>
            </a:r>
            <a:r>
              <a:rPr lang="nl-BE" sz="488" noProof="0" err="1">
                <a:solidFill>
                  <a:schemeClr val="bg1"/>
                </a:solidFill>
              </a:rPr>
              <a:t>To</a:t>
            </a:r>
            <a:r>
              <a:rPr lang="nl-BE" sz="488" noProof="0">
                <a:solidFill>
                  <a:schemeClr val="bg1"/>
                </a:solidFill>
              </a:rPr>
              <a:t> </a:t>
            </a:r>
            <a:r>
              <a:rPr lang="nl-BE" sz="488" noProof="0" err="1">
                <a:solidFill>
                  <a:schemeClr val="bg1"/>
                </a:solidFill>
              </a:rPr>
              <a:t>edit</a:t>
            </a:r>
            <a:r>
              <a:rPr lang="nl-BE" sz="488" noProof="0">
                <a:solidFill>
                  <a:schemeClr val="bg1"/>
                </a:solidFill>
              </a:rPr>
              <a:t>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76240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/>
                </a:solidFill>
              </a:rPr>
              <a:t>© 2016 Deloitte Belgium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4" y="485775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nl-BE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nl-BE" sz="488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289681905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50837" y="1249363"/>
            <a:ext cx="4153298" cy="3475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  <a:p>
            <a:pPr lvl="1"/>
            <a:r>
              <a:rPr lang="nl-BE" noProof="0"/>
              <a:t>Second level</a:t>
            </a:r>
          </a:p>
          <a:p>
            <a:pPr lvl="2"/>
            <a:r>
              <a:rPr lang="nl-BE" noProof="0" err="1"/>
              <a:t>Third</a:t>
            </a:r>
            <a:r>
              <a:rPr lang="nl-BE" noProof="0"/>
              <a:t> level</a:t>
            </a:r>
          </a:p>
          <a:p>
            <a:pPr lvl="3"/>
            <a:r>
              <a:rPr lang="nl-BE" noProof="0" err="1"/>
              <a:t>Fourth</a:t>
            </a:r>
            <a:r>
              <a:rPr lang="nl-BE" noProof="0"/>
              <a:t> level</a:t>
            </a:r>
          </a:p>
          <a:p>
            <a:pPr lvl="4"/>
            <a:r>
              <a:rPr lang="nl-BE" noProof="0" err="1"/>
              <a:t>Fifth</a:t>
            </a:r>
            <a:r>
              <a:rPr lang="nl-BE" noProof="0"/>
              <a:t>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add</a:t>
            </a:r>
            <a:r>
              <a:rPr lang="nl-BE" noProof="0"/>
              <a:t> </a:t>
            </a:r>
            <a:r>
              <a:rPr lang="nl-BE" noProof="0" err="1"/>
              <a:t>subtitle</a:t>
            </a:r>
            <a:endParaRPr lang="nl-BE" noProof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42762985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</p:spTree>
    <p:extLst>
      <p:ext uri="{BB962C8B-B14F-4D97-AF65-F5344CB8AC3E}">
        <p14:creationId xmlns:p14="http://schemas.microsoft.com/office/powerpoint/2010/main" val="250801394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sic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500" y="137701"/>
            <a:ext cx="8121073" cy="420821"/>
          </a:xfrm>
        </p:spPr>
        <p:txBody>
          <a:bodyPr lIns="0" rIns="0"/>
          <a:lstStyle>
            <a:lvl1pPr>
              <a:defRPr sz="2100" b="0" i="0">
                <a:solidFill>
                  <a:schemeClr val="bg1"/>
                </a:solidFill>
                <a:latin typeface="+mj-lt"/>
                <a:cs typeface="Knockout-HTF27-JuniorBantamwt"/>
              </a:defRPr>
            </a:lvl1pPr>
          </a:lstStyle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0964047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275160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BE" noProof="0"/>
              <a:t>Click </a:t>
            </a:r>
            <a:r>
              <a:rPr lang="nl-BE" noProof="0" err="1"/>
              <a:t>to</a:t>
            </a:r>
            <a:r>
              <a:rPr lang="nl-BE" noProof="0"/>
              <a:t> </a:t>
            </a:r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itle</a:t>
            </a:r>
            <a:r>
              <a:rPr lang="nl-BE" noProof="0"/>
              <a:t> </a:t>
            </a:r>
            <a:r>
              <a:rPr lang="nl-BE" noProof="0" err="1"/>
              <a:t>style</a:t>
            </a:r>
            <a:endParaRPr lang="nl-BE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2567659"/>
            <a:ext cx="7813676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BE" noProof="0" err="1"/>
              <a:t>Edit</a:t>
            </a:r>
            <a:r>
              <a:rPr lang="nl-BE" noProof="0"/>
              <a:t> Master </a:t>
            </a:r>
            <a:r>
              <a:rPr lang="nl-BE" noProof="0" err="1"/>
              <a:t>text</a:t>
            </a:r>
            <a:r>
              <a:rPr lang="nl-BE" noProof="0"/>
              <a:t> </a:t>
            </a:r>
            <a:r>
              <a:rPr lang="nl-BE" noProof="0" err="1"/>
              <a:t>styles</a:t>
            </a:r>
            <a:endParaRPr lang="nl-BE" noProof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352426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nl-BE" sz="488" noProof="0">
                <a:solidFill>
                  <a:schemeClr val="bg1"/>
                </a:solidFill>
              </a:rPr>
              <a:t>© 2021 Deloitte Belgium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4" y="4857750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nl-BE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nl-BE" sz="488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471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>
            <a:extLst>
              <a:ext uri="{FF2B5EF4-FFF2-40B4-BE49-F238E27FC236}">
                <a16:creationId xmlns:a16="http://schemas.microsoft.com/office/drawing/2014/main" id="{4D4F39EE-8F0A-2147-8DB7-FC9B4841CECD}"/>
              </a:ext>
            </a:extLst>
          </p:cNvPr>
          <p:cNvSpPr/>
          <p:nvPr userDrawn="1"/>
        </p:nvSpPr>
        <p:spPr>
          <a:xfrm>
            <a:off x="0" y="-1"/>
            <a:ext cx="6678246" cy="5143501"/>
          </a:xfrm>
          <a:custGeom>
            <a:avLst/>
            <a:gdLst>
              <a:gd name="connsiteX0" fmla="*/ 2005238 w 6678246"/>
              <a:gd name="connsiteY0" fmla="*/ 0 h 5143501"/>
              <a:gd name="connsiteX1" fmla="*/ 6678246 w 6678246"/>
              <a:gd name="connsiteY1" fmla="*/ 0 h 5143501"/>
              <a:gd name="connsiteX2" fmla="*/ 3728037 w 6678246"/>
              <a:gd name="connsiteY2" fmla="*/ 5143501 h 5143501"/>
              <a:gd name="connsiteX3" fmla="*/ 2106246 w 6678246"/>
              <a:gd name="connsiteY3" fmla="*/ 5143501 h 5143501"/>
              <a:gd name="connsiteX4" fmla="*/ 0 w 6678246"/>
              <a:gd name="connsiteY4" fmla="*/ 5143501 h 5143501"/>
              <a:gd name="connsiteX5" fmla="*/ 0 w 6678246"/>
              <a:gd name="connsiteY5" fmla="*/ 1 h 5143501"/>
              <a:gd name="connsiteX6" fmla="*/ 2005238 w 6678246"/>
              <a:gd name="connsiteY6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78246" h="5143501">
                <a:moveTo>
                  <a:pt x="2005238" y="0"/>
                </a:moveTo>
                <a:lnTo>
                  <a:pt x="6678246" y="0"/>
                </a:lnTo>
                <a:lnTo>
                  <a:pt x="3728037" y="5143501"/>
                </a:lnTo>
                <a:lnTo>
                  <a:pt x="2106246" y="5143501"/>
                </a:lnTo>
                <a:lnTo>
                  <a:pt x="0" y="5143501"/>
                </a:lnTo>
                <a:lnTo>
                  <a:pt x="0" y="1"/>
                </a:lnTo>
                <a:lnTo>
                  <a:pt x="2005238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69815" y="1701383"/>
            <a:ext cx="3816000" cy="1993692"/>
          </a:xfrm>
        </p:spPr>
        <p:txBody>
          <a:bodyPr anchor="b" anchorCtr="0">
            <a:noAutofit/>
          </a:bodyPr>
          <a:lstStyle>
            <a:lvl1pPr algn="r">
              <a:lnSpc>
                <a:spcPts val="3000"/>
              </a:lnSpc>
              <a:defRPr sz="3000" baseline="0">
                <a:solidFill>
                  <a:schemeClr val="tx1"/>
                </a:solidFill>
                <a:latin typeface="+mj-lt"/>
                <a:cs typeface="Calibri"/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969815" y="3807501"/>
            <a:ext cx="3816000" cy="176933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r">
              <a:lnSpc>
                <a:spcPct val="120000"/>
              </a:lnSpc>
              <a:spcBef>
                <a:spcPts val="0"/>
              </a:spcBef>
              <a:buNone/>
              <a:defRPr sz="1185">
                <a:solidFill>
                  <a:schemeClr val="tx1">
                    <a:lumMod val="60000"/>
                    <a:lumOff val="40000"/>
                  </a:schemeClr>
                </a:solidFill>
                <a:latin typeface="FlandersArtSans-Regular" panose="00000500000000000000" pitchFamily="2" charset="0"/>
                <a:cs typeface="Calibri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DE23362-922A-D635-E8F2-211B731BE6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2946" y="887794"/>
            <a:ext cx="2803777" cy="28072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88F2D08-4357-EA09-D887-4B8A818BBA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6327" y="4480984"/>
            <a:ext cx="759058" cy="35771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08E3383-D233-CB0D-0091-DA5AC3C035F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86072" y="216001"/>
            <a:ext cx="1800000" cy="70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547387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ALGEM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el 1">
            <a:extLst>
              <a:ext uri="{FF2B5EF4-FFF2-40B4-BE49-F238E27FC236}">
                <a16:creationId xmlns:a16="http://schemas.microsoft.com/office/drawing/2014/main" id="{37155686-58FC-A144-90EC-2DDF93FAB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338" y="456696"/>
            <a:ext cx="3108049" cy="1555200"/>
          </a:xfrm>
        </p:spPr>
        <p:txBody>
          <a:bodyPr anchor="b" anchorCtr="0">
            <a:noAutofit/>
          </a:bodyPr>
          <a:lstStyle>
            <a:lvl1pPr indent="0" algn="l">
              <a:lnSpc>
                <a:spcPts val="4050"/>
              </a:lnSpc>
              <a:defRPr sz="40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28" name="Ondertitel 2">
            <a:extLst>
              <a:ext uri="{FF2B5EF4-FFF2-40B4-BE49-F238E27FC236}">
                <a16:creationId xmlns:a16="http://schemas.microsoft.com/office/drawing/2014/main" id="{2AEA6679-13F6-284A-A5CC-7A879725C6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5336" y="2231136"/>
            <a:ext cx="5792885" cy="1773936"/>
          </a:xfrm>
        </p:spPr>
        <p:txBody>
          <a:bodyPr bIns="0">
            <a:noAutofit/>
          </a:bodyPr>
          <a:lstStyle>
            <a:lvl1pPr marL="0" indent="0" algn="l">
              <a:lnSpc>
                <a:spcPct val="120000"/>
              </a:lnSpc>
              <a:buNone/>
              <a:defRPr sz="1200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1874FB4-FE9B-7B4C-998E-5DAD9FE3BFAA}"/>
              </a:ext>
            </a:extLst>
          </p:cNvPr>
          <p:cNvGrpSpPr/>
          <p:nvPr userDrawn="1"/>
        </p:nvGrpSpPr>
        <p:grpSpPr>
          <a:xfrm>
            <a:off x="449010" y="548852"/>
            <a:ext cx="4347000" cy="50189"/>
            <a:chOff x="0" y="0"/>
            <a:chExt cx="9144000" cy="9144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B89F494-37F4-F341-8C89-CEF8BD1189B6}"/>
                </a:ext>
              </a:extLst>
            </p:cNvPr>
            <p:cNvSpPr/>
            <p:nvPr userDrawn="1"/>
          </p:nvSpPr>
          <p:spPr>
            <a:xfrm>
              <a:off x="0" y="0"/>
              <a:ext cx="3045600" cy="91440"/>
            </a:xfrm>
            <a:prstGeom prst="rect">
              <a:avLst/>
            </a:prstGeom>
            <a:solidFill>
              <a:srgbClr val="E633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 sz="24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B352D17-4BEE-F646-9BFA-E753A397CD56}"/>
                </a:ext>
              </a:extLst>
            </p:cNvPr>
            <p:cNvSpPr/>
            <p:nvPr userDrawn="1"/>
          </p:nvSpPr>
          <p:spPr>
            <a:xfrm>
              <a:off x="3049200" y="0"/>
              <a:ext cx="3045600" cy="91440"/>
            </a:xfrm>
            <a:prstGeom prst="rect">
              <a:avLst/>
            </a:prstGeom>
            <a:solidFill>
              <a:srgbClr val="F0A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 sz="24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8B05E1A-7384-1E49-8AB4-FEA5543C2DCC}"/>
                </a:ext>
              </a:extLst>
            </p:cNvPr>
            <p:cNvSpPr/>
            <p:nvPr userDrawn="1"/>
          </p:nvSpPr>
          <p:spPr>
            <a:xfrm>
              <a:off x="6098400" y="0"/>
              <a:ext cx="3045600" cy="91440"/>
            </a:xfrm>
            <a:prstGeom prst="rect">
              <a:avLst/>
            </a:prstGeom>
            <a:solidFill>
              <a:srgbClr val="D36D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 sz="2400"/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00D81601-80FC-9B93-C88C-03623C20D5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75973" y="225592"/>
            <a:ext cx="685942" cy="323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88636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 ALGEM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el 1">
            <a:extLst>
              <a:ext uri="{FF2B5EF4-FFF2-40B4-BE49-F238E27FC236}">
                <a16:creationId xmlns:a16="http://schemas.microsoft.com/office/drawing/2014/main" id="{37155686-58FC-A144-90EC-2DDF93FAB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338" y="456696"/>
            <a:ext cx="3108049" cy="1555200"/>
          </a:xfrm>
        </p:spPr>
        <p:txBody>
          <a:bodyPr anchor="b" anchorCtr="0">
            <a:noAutofit/>
          </a:bodyPr>
          <a:lstStyle>
            <a:lvl1pPr indent="0" algn="l">
              <a:lnSpc>
                <a:spcPts val="4050"/>
              </a:lnSpc>
              <a:defRPr sz="40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28" name="Ondertitel 2">
            <a:extLst>
              <a:ext uri="{FF2B5EF4-FFF2-40B4-BE49-F238E27FC236}">
                <a16:creationId xmlns:a16="http://schemas.microsoft.com/office/drawing/2014/main" id="{2AEA6679-13F6-284A-A5CC-7A879725C6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5336" y="2231136"/>
            <a:ext cx="5792885" cy="1773936"/>
          </a:xfrm>
        </p:spPr>
        <p:txBody>
          <a:bodyPr bIns="0">
            <a:noAutofit/>
          </a:bodyPr>
          <a:lstStyle>
            <a:lvl1pPr marL="0" indent="0" algn="l">
              <a:lnSpc>
                <a:spcPct val="120000"/>
              </a:lnSpc>
              <a:buNone/>
              <a:defRPr sz="1200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1874FB4-FE9B-7B4C-998E-5DAD9FE3BFAA}"/>
              </a:ext>
            </a:extLst>
          </p:cNvPr>
          <p:cNvGrpSpPr/>
          <p:nvPr userDrawn="1"/>
        </p:nvGrpSpPr>
        <p:grpSpPr>
          <a:xfrm>
            <a:off x="449010" y="548852"/>
            <a:ext cx="3267000" cy="50189"/>
            <a:chOff x="0" y="0"/>
            <a:chExt cx="9144000" cy="9144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B89F494-37F4-F341-8C89-CEF8BD1189B6}"/>
                </a:ext>
              </a:extLst>
            </p:cNvPr>
            <p:cNvSpPr/>
            <p:nvPr userDrawn="1"/>
          </p:nvSpPr>
          <p:spPr>
            <a:xfrm>
              <a:off x="0" y="0"/>
              <a:ext cx="3045600" cy="91440"/>
            </a:xfrm>
            <a:prstGeom prst="rect">
              <a:avLst/>
            </a:prstGeom>
            <a:solidFill>
              <a:srgbClr val="E633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 sz="24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B352D17-4BEE-F646-9BFA-E753A397CD56}"/>
                </a:ext>
              </a:extLst>
            </p:cNvPr>
            <p:cNvSpPr/>
            <p:nvPr userDrawn="1"/>
          </p:nvSpPr>
          <p:spPr>
            <a:xfrm>
              <a:off x="3049200" y="0"/>
              <a:ext cx="3045600" cy="91440"/>
            </a:xfrm>
            <a:prstGeom prst="rect">
              <a:avLst/>
            </a:prstGeom>
            <a:solidFill>
              <a:srgbClr val="F0A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 sz="24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8B05E1A-7384-1E49-8AB4-FEA5543C2DCC}"/>
                </a:ext>
              </a:extLst>
            </p:cNvPr>
            <p:cNvSpPr/>
            <p:nvPr userDrawn="1"/>
          </p:nvSpPr>
          <p:spPr>
            <a:xfrm>
              <a:off x="6098400" y="0"/>
              <a:ext cx="3045600" cy="91440"/>
            </a:xfrm>
            <a:prstGeom prst="rect">
              <a:avLst/>
            </a:prstGeom>
            <a:solidFill>
              <a:srgbClr val="D36D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 sz="2400"/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00D81601-80FC-9B93-C88C-03623C20D5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3303" y="4828049"/>
            <a:ext cx="368376" cy="173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3259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oo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A7DEC9B0-CDAE-7D49-AB22-5F33641D246E}"/>
              </a:ext>
            </a:extLst>
          </p:cNvPr>
          <p:cNvSpPr/>
          <p:nvPr userDrawn="1"/>
        </p:nvSpPr>
        <p:spPr>
          <a:xfrm>
            <a:off x="4638060" y="-1"/>
            <a:ext cx="4505940" cy="5143501"/>
          </a:xfrm>
          <a:custGeom>
            <a:avLst/>
            <a:gdLst>
              <a:gd name="connsiteX0" fmla="*/ 2950209 w 4505940"/>
              <a:gd name="connsiteY0" fmla="*/ 0 h 5143501"/>
              <a:gd name="connsiteX1" fmla="*/ 4505940 w 4505940"/>
              <a:gd name="connsiteY1" fmla="*/ 0 h 5143501"/>
              <a:gd name="connsiteX2" fmla="*/ 4505940 w 4505940"/>
              <a:gd name="connsiteY2" fmla="*/ 5143501 h 5143501"/>
              <a:gd name="connsiteX3" fmla="*/ 0 w 4505940"/>
              <a:gd name="connsiteY3" fmla="*/ 514350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5940" h="5143501">
                <a:moveTo>
                  <a:pt x="2950209" y="0"/>
                </a:moveTo>
                <a:lnTo>
                  <a:pt x="4505940" y="0"/>
                </a:lnTo>
                <a:lnTo>
                  <a:pt x="4505940" y="5143501"/>
                </a:lnTo>
                <a:lnTo>
                  <a:pt x="0" y="514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3B096449-F8DC-0E4E-A8F4-7022058CED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23453" y="1899914"/>
            <a:ext cx="2245314" cy="2248120"/>
          </a:xfrm>
          <a:prstGeom prst="rect">
            <a:avLst/>
          </a:prstGeom>
        </p:spPr>
      </p:pic>
      <p:sp>
        <p:nvSpPr>
          <p:cNvPr id="27" name="Titel 1">
            <a:extLst>
              <a:ext uri="{FF2B5EF4-FFF2-40B4-BE49-F238E27FC236}">
                <a16:creationId xmlns:a16="http://schemas.microsoft.com/office/drawing/2014/main" id="{37155686-58FC-A144-90EC-2DDF93FAB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337" y="456696"/>
            <a:ext cx="5792883" cy="1555200"/>
          </a:xfrm>
        </p:spPr>
        <p:txBody>
          <a:bodyPr anchor="b" anchorCtr="0">
            <a:noAutofit/>
          </a:bodyPr>
          <a:lstStyle>
            <a:lvl1pPr indent="0" algn="l">
              <a:lnSpc>
                <a:spcPts val="4050"/>
              </a:lnSpc>
              <a:defRPr sz="40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28" name="Ondertitel 2">
            <a:extLst>
              <a:ext uri="{FF2B5EF4-FFF2-40B4-BE49-F238E27FC236}">
                <a16:creationId xmlns:a16="http://schemas.microsoft.com/office/drawing/2014/main" id="{2AEA6679-13F6-284A-A5CC-7A879725C6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5336" y="2231136"/>
            <a:ext cx="4737100" cy="1773936"/>
          </a:xfrm>
        </p:spPr>
        <p:txBody>
          <a:bodyPr bIns="0" numCol="2" spcCol="720000">
            <a:noAutofit/>
          </a:bodyPr>
          <a:lstStyle>
            <a:lvl1pPr marL="0" indent="0" algn="l">
              <a:lnSpc>
                <a:spcPct val="120000"/>
              </a:lnSpc>
              <a:buNone/>
              <a:defRPr sz="1200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AC9CEA-E961-0D82-1D73-830D521756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4647" y="4480983"/>
            <a:ext cx="759058" cy="35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4391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ee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EBB1CAE6-A8C9-17B3-C553-8DBB3732797A}"/>
              </a:ext>
            </a:extLst>
          </p:cNvPr>
          <p:cNvSpPr/>
          <p:nvPr userDrawn="1"/>
        </p:nvSpPr>
        <p:spPr>
          <a:xfrm>
            <a:off x="4638060" y="-1"/>
            <a:ext cx="4505940" cy="5143501"/>
          </a:xfrm>
          <a:custGeom>
            <a:avLst/>
            <a:gdLst>
              <a:gd name="connsiteX0" fmla="*/ 2950209 w 4505940"/>
              <a:gd name="connsiteY0" fmla="*/ 0 h 5143501"/>
              <a:gd name="connsiteX1" fmla="*/ 4505940 w 4505940"/>
              <a:gd name="connsiteY1" fmla="*/ 0 h 5143501"/>
              <a:gd name="connsiteX2" fmla="*/ 4505940 w 4505940"/>
              <a:gd name="connsiteY2" fmla="*/ 5143501 h 5143501"/>
              <a:gd name="connsiteX3" fmla="*/ 0 w 4505940"/>
              <a:gd name="connsiteY3" fmla="*/ 514350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5940" h="5143501">
                <a:moveTo>
                  <a:pt x="2950209" y="0"/>
                </a:moveTo>
                <a:lnTo>
                  <a:pt x="4505940" y="0"/>
                </a:lnTo>
                <a:lnTo>
                  <a:pt x="4505940" y="5143501"/>
                </a:lnTo>
                <a:lnTo>
                  <a:pt x="0" y="514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E5EB4-A172-1567-5F88-0AF46D1061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23453" y="1899914"/>
            <a:ext cx="2245313" cy="2248120"/>
          </a:xfrm>
          <a:prstGeom prst="rect">
            <a:avLst/>
          </a:prstGeom>
        </p:spPr>
      </p:pic>
      <p:sp>
        <p:nvSpPr>
          <p:cNvPr id="27" name="Titel 1">
            <a:extLst>
              <a:ext uri="{FF2B5EF4-FFF2-40B4-BE49-F238E27FC236}">
                <a16:creationId xmlns:a16="http://schemas.microsoft.com/office/drawing/2014/main" id="{37155686-58FC-A144-90EC-2DDF93FAB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337" y="456696"/>
            <a:ext cx="5792883" cy="1555200"/>
          </a:xfrm>
        </p:spPr>
        <p:txBody>
          <a:bodyPr anchor="b" anchorCtr="0">
            <a:noAutofit/>
          </a:bodyPr>
          <a:lstStyle>
            <a:lvl1pPr indent="0" algn="l">
              <a:lnSpc>
                <a:spcPts val="4050"/>
              </a:lnSpc>
              <a:defRPr sz="4050">
                <a:solidFill>
                  <a:srgbClr val="F0A200"/>
                </a:solidFill>
                <a:latin typeface="+mj-lt"/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28" name="Ondertitel 2">
            <a:extLst>
              <a:ext uri="{FF2B5EF4-FFF2-40B4-BE49-F238E27FC236}">
                <a16:creationId xmlns:a16="http://schemas.microsoft.com/office/drawing/2014/main" id="{2AEA6679-13F6-284A-A5CC-7A879725C6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5336" y="2231136"/>
            <a:ext cx="4774046" cy="1773936"/>
          </a:xfrm>
        </p:spPr>
        <p:txBody>
          <a:bodyPr bIns="0" numCol="2" spcCol="720000">
            <a:noAutofit/>
          </a:bodyPr>
          <a:lstStyle>
            <a:lvl1pPr marL="0" indent="0" algn="l">
              <a:lnSpc>
                <a:spcPct val="120000"/>
              </a:lnSpc>
              <a:buNone/>
              <a:defRPr sz="1200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15A2133-7799-C110-5944-E125EEC58F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4647" y="4480983"/>
            <a:ext cx="759058" cy="35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2491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rui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6CE81A17-C6A1-9BE4-04AF-C95D144E0F96}"/>
              </a:ext>
            </a:extLst>
          </p:cNvPr>
          <p:cNvSpPr/>
          <p:nvPr userDrawn="1"/>
        </p:nvSpPr>
        <p:spPr>
          <a:xfrm>
            <a:off x="4638060" y="-1"/>
            <a:ext cx="4505940" cy="5143501"/>
          </a:xfrm>
          <a:custGeom>
            <a:avLst/>
            <a:gdLst>
              <a:gd name="connsiteX0" fmla="*/ 2950209 w 4505940"/>
              <a:gd name="connsiteY0" fmla="*/ 0 h 5143501"/>
              <a:gd name="connsiteX1" fmla="*/ 4505940 w 4505940"/>
              <a:gd name="connsiteY1" fmla="*/ 0 h 5143501"/>
              <a:gd name="connsiteX2" fmla="*/ 4505940 w 4505940"/>
              <a:gd name="connsiteY2" fmla="*/ 5143501 h 5143501"/>
              <a:gd name="connsiteX3" fmla="*/ 0 w 4505940"/>
              <a:gd name="connsiteY3" fmla="*/ 514350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5940" h="5143501">
                <a:moveTo>
                  <a:pt x="2950209" y="0"/>
                </a:moveTo>
                <a:lnTo>
                  <a:pt x="4505940" y="0"/>
                </a:lnTo>
                <a:lnTo>
                  <a:pt x="4505940" y="5143501"/>
                </a:lnTo>
                <a:lnTo>
                  <a:pt x="0" y="514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37155686-58FC-A144-90EC-2DDF93FAB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337" y="456696"/>
            <a:ext cx="5669972" cy="1555200"/>
          </a:xfrm>
        </p:spPr>
        <p:txBody>
          <a:bodyPr anchor="b" anchorCtr="0">
            <a:noAutofit/>
          </a:bodyPr>
          <a:lstStyle>
            <a:lvl1pPr indent="0" algn="l">
              <a:lnSpc>
                <a:spcPts val="4050"/>
              </a:lnSpc>
              <a:defRPr sz="4050">
                <a:solidFill>
                  <a:schemeClr val="accent6"/>
                </a:solidFill>
                <a:latin typeface="+mj-lt"/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28" name="Ondertitel 2">
            <a:extLst>
              <a:ext uri="{FF2B5EF4-FFF2-40B4-BE49-F238E27FC236}">
                <a16:creationId xmlns:a16="http://schemas.microsoft.com/office/drawing/2014/main" id="{2AEA6679-13F6-284A-A5CC-7A879725C6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5336" y="2231136"/>
            <a:ext cx="4746337" cy="1773936"/>
          </a:xfrm>
        </p:spPr>
        <p:txBody>
          <a:bodyPr bIns="0" numCol="2" spcCol="720000">
            <a:noAutofit/>
          </a:bodyPr>
          <a:lstStyle>
            <a:lvl1pPr marL="0" indent="0" algn="l">
              <a:lnSpc>
                <a:spcPct val="120000"/>
              </a:lnSpc>
              <a:buNone/>
              <a:defRPr sz="1200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78E6D4B-11B6-5570-EA0E-E473493C3E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23453" y="1899914"/>
            <a:ext cx="2245313" cy="224811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8C70E7A-24C2-CA64-6379-3290E2618C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4647" y="4480983"/>
            <a:ext cx="759058" cy="35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8890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oo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61DC00D7-8FA6-EA4F-A570-60419B684444}"/>
              </a:ext>
            </a:extLst>
          </p:cNvPr>
          <p:cNvSpPr/>
          <p:nvPr userDrawn="1"/>
        </p:nvSpPr>
        <p:spPr>
          <a:xfrm flipH="1" flipV="1">
            <a:off x="-2" y="-1"/>
            <a:ext cx="9143997" cy="2463130"/>
          </a:xfrm>
          <a:custGeom>
            <a:avLst/>
            <a:gdLst>
              <a:gd name="connsiteX0" fmla="*/ 9143999 w 9143999"/>
              <a:gd name="connsiteY0" fmla="*/ 2591213 h 2591213"/>
              <a:gd name="connsiteX1" fmla="*/ 0 w 9143999"/>
              <a:gd name="connsiteY1" fmla="*/ 2591213 h 2591213"/>
              <a:gd name="connsiteX2" fmla="*/ 0 w 9143999"/>
              <a:gd name="connsiteY2" fmla="*/ 2083213 h 2591213"/>
              <a:gd name="connsiteX3" fmla="*/ 0 w 9143999"/>
              <a:gd name="connsiteY3" fmla="*/ 1309179 h 2591213"/>
              <a:gd name="connsiteX4" fmla="*/ 0 w 9143999"/>
              <a:gd name="connsiteY4" fmla="*/ 1301051 h 2591213"/>
              <a:gd name="connsiteX5" fmla="*/ 0 w 9143999"/>
              <a:gd name="connsiteY5" fmla="*/ 801179 h 2591213"/>
              <a:gd name="connsiteX6" fmla="*/ 0 w 9143999"/>
              <a:gd name="connsiteY6" fmla="*/ 793051 h 2591213"/>
              <a:gd name="connsiteX7" fmla="*/ 92766 w 9143999"/>
              <a:gd name="connsiteY7" fmla="*/ 793051 h 2591213"/>
              <a:gd name="connsiteX8" fmla="*/ 9143998 w 9143999"/>
              <a:gd name="connsiteY8" fmla="*/ 0 h 2591213"/>
              <a:gd name="connsiteX9" fmla="*/ 9143998 w 9143999"/>
              <a:gd name="connsiteY9" fmla="*/ 508000 h 2591213"/>
              <a:gd name="connsiteX10" fmla="*/ 9143998 w 9143999"/>
              <a:gd name="connsiteY10" fmla="*/ 793051 h 2591213"/>
              <a:gd name="connsiteX11" fmla="*/ 9143999 w 9143999"/>
              <a:gd name="connsiteY11" fmla="*/ 793051 h 2591213"/>
              <a:gd name="connsiteX12" fmla="*/ 9143999 w 9143999"/>
              <a:gd name="connsiteY12" fmla="*/ 1301051 h 2591213"/>
              <a:gd name="connsiteX13" fmla="*/ 9143999 w 9143999"/>
              <a:gd name="connsiteY13" fmla="*/ 2083213 h 2591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143999" h="2591213">
                <a:moveTo>
                  <a:pt x="9143999" y="2591213"/>
                </a:moveTo>
                <a:lnTo>
                  <a:pt x="0" y="2591213"/>
                </a:lnTo>
                <a:lnTo>
                  <a:pt x="0" y="2083213"/>
                </a:lnTo>
                <a:lnTo>
                  <a:pt x="0" y="1309179"/>
                </a:lnTo>
                <a:lnTo>
                  <a:pt x="0" y="1301051"/>
                </a:lnTo>
                <a:lnTo>
                  <a:pt x="0" y="801179"/>
                </a:lnTo>
                <a:lnTo>
                  <a:pt x="0" y="793051"/>
                </a:lnTo>
                <a:lnTo>
                  <a:pt x="92766" y="793051"/>
                </a:lnTo>
                <a:lnTo>
                  <a:pt x="9143998" y="0"/>
                </a:lnTo>
                <a:lnTo>
                  <a:pt x="9143998" y="508000"/>
                </a:lnTo>
                <a:lnTo>
                  <a:pt x="9143998" y="793051"/>
                </a:lnTo>
                <a:lnTo>
                  <a:pt x="9143999" y="793051"/>
                </a:lnTo>
                <a:lnTo>
                  <a:pt x="9143999" y="1301051"/>
                </a:lnTo>
                <a:lnTo>
                  <a:pt x="9143999" y="208321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350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37155686-58FC-A144-90EC-2DDF93FAB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337" y="466344"/>
            <a:ext cx="6445827" cy="1408176"/>
          </a:xfrm>
        </p:spPr>
        <p:txBody>
          <a:bodyPr anchor="b" anchorCtr="0">
            <a:noAutofit/>
          </a:bodyPr>
          <a:lstStyle>
            <a:lvl1pPr indent="0" algn="l">
              <a:lnSpc>
                <a:spcPts val="2850"/>
              </a:lnSpc>
              <a:defRPr sz="2780">
                <a:solidFill>
                  <a:srgbClr val="E63312"/>
                </a:solidFill>
                <a:latin typeface="+mj-lt"/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28" name="Ondertitel 2">
            <a:extLst>
              <a:ext uri="{FF2B5EF4-FFF2-40B4-BE49-F238E27FC236}">
                <a16:creationId xmlns:a16="http://schemas.microsoft.com/office/drawing/2014/main" id="{2AEA6679-13F6-284A-A5CC-7A879725C6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5336" y="2624328"/>
            <a:ext cx="7920000" cy="1380744"/>
          </a:xfrm>
        </p:spPr>
        <p:txBody>
          <a:bodyPr bIns="0" numCol="3" spcCol="720000">
            <a:noAutofit/>
          </a:bodyPr>
          <a:lstStyle>
            <a:lvl1pPr marL="0" indent="0" algn="l">
              <a:lnSpc>
                <a:spcPct val="120000"/>
              </a:lnSpc>
              <a:buNone/>
              <a:defRPr sz="1200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8BF188-90D1-7268-4482-EF7E4DA038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05121" y="252088"/>
            <a:ext cx="1197645" cy="11991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00D56A7-A580-EF3C-B87F-A8626C053B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4647" y="4480983"/>
            <a:ext cx="759058" cy="35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2620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roo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61DC00D7-8FA6-EA4F-A570-60419B684444}"/>
              </a:ext>
            </a:extLst>
          </p:cNvPr>
          <p:cNvSpPr/>
          <p:nvPr userDrawn="1"/>
        </p:nvSpPr>
        <p:spPr>
          <a:xfrm flipH="1" flipV="1">
            <a:off x="-2" y="-1"/>
            <a:ext cx="9143997" cy="2463130"/>
          </a:xfrm>
          <a:custGeom>
            <a:avLst/>
            <a:gdLst>
              <a:gd name="connsiteX0" fmla="*/ 9143999 w 9143999"/>
              <a:gd name="connsiteY0" fmla="*/ 2591213 h 2591213"/>
              <a:gd name="connsiteX1" fmla="*/ 0 w 9143999"/>
              <a:gd name="connsiteY1" fmla="*/ 2591213 h 2591213"/>
              <a:gd name="connsiteX2" fmla="*/ 0 w 9143999"/>
              <a:gd name="connsiteY2" fmla="*/ 2083213 h 2591213"/>
              <a:gd name="connsiteX3" fmla="*/ 0 w 9143999"/>
              <a:gd name="connsiteY3" fmla="*/ 1309179 h 2591213"/>
              <a:gd name="connsiteX4" fmla="*/ 0 w 9143999"/>
              <a:gd name="connsiteY4" fmla="*/ 1301051 h 2591213"/>
              <a:gd name="connsiteX5" fmla="*/ 0 w 9143999"/>
              <a:gd name="connsiteY5" fmla="*/ 801179 h 2591213"/>
              <a:gd name="connsiteX6" fmla="*/ 0 w 9143999"/>
              <a:gd name="connsiteY6" fmla="*/ 793051 h 2591213"/>
              <a:gd name="connsiteX7" fmla="*/ 92766 w 9143999"/>
              <a:gd name="connsiteY7" fmla="*/ 793051 h 2591213"/>
              <a:gd name="connsiteX8" fmla="*/ 9143998 w 9143999"/>
              <a:gd name="connsiteY8" fmla="*/ 0 h 2591213"/>
              <a:gd name="connsiteX9" fmla="*/ 9143998 w 9143999"/>
              <a:gd name="connsiteY9" fmla="*/ 508000 h 2591213"/>
              <a:gd name="connsiteX10" fmla="*/ 9143998 w 9143999"/>
              <a:gd name="connsiteY10" fmla="*/ 793051 h 2591213"/>
              <a:gd name="connsiteX11" fmla="*/ 9143999 w 9143999"/>
              <a:gd name="connsiteY11" fmla="*/ 793051 h 2591213"/>
              <a:gd name="connsiteX12" fmla="*/ 9143999 w 9143999"/>
              <a:gd name="connsiteY12" fmla="*/ 1301051 h 2591213"/>
              <a:gd name="connsiteX13" fmla="*/ 9143999 w 9143999"/>
              <a:gd name="connsiteY13" fmla="*/ 2083213 h 2591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143999" h="2591213">
                <a:moveTo>
                  <a:pt x="9143999" y="2591213"/>
                </a:moveTo>
                <a:lnTo>
                  <a:pt x="0" y="2591213"/>
                </a:lnTo>
                <a:lnTo>
                  <a:pt x="0" y="2083213"/>
                </a:lnTo>
                <a:lnTo>
                  <a:pt x="0" y="1309179"/>
                </a:lnTo>
                <a:lnTo>
                  <a:pt x="0" y="1301051"/>
                </a:lnTo>
                <a:lnTo>
                  <a:pt x="0" y="801179"/>
                </a:lnTo>
                <a:lnTo>
                  <a:pt x="0" y="793051"/>
                </a:lnTo>
                <a:lnTo>
                  <a:pt x="92766" y="793051"/>
                </a:lnTo>
                <a:lnTo>
                  <a:pt x="9143998" y="0"/>
                </a:lnTo>
                <a:lnTo>
                  <a:pt x="9143998" y="508000"/>
                </a:lnTo>
                <a:lnTo>
                  <a:pt x="9143998" y="793051"/>
                </a:lnTo>
                <a:lnTo>
                  <a:pt x="9143999" y="793051"/>
                </a:lnTo>
                <a:lnTo>
                  <a:pt x="9143999" y="1301051"/>
                </a:lnTo>
                <a:lnTo>
                  <a:pt x="9143999" y="208321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350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37155686-58FC-A144-90EC-2DDF93FAB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337" y="466344"/>
            <a:ext cx="6510481" cy="1408176"/>
          </a:xfrm>
        </p:spPr>
        <p:txBody>
          <a:bodyPr anchor="b" anchorCtr="0">
            <a:noAutofit/>
          </a:bodyPr>
          <a:lstStyle>
            <a:lvl1pPr indent="0" algn="l">
              <a:lnSpc>
                <a:spcPts val="2850"/>
              </a:lnSpc>
              <a:defRPr sz="2780">
                <a:solidFill>
                  <a:schemeClr val="accent5"/>
                </a:solidFill>
                <a:latin typeface="+mj-lt"/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28" name="Ondertitel 2">
            <a:extLst>
              <a:ext uri="{FF2B5EF4-FFF2-40B4-BE49-F238E27FC236}">
                <a16:creationId xmlns:a16="http://schemas.microsoft.com/office/drawing/2014/main" id="{2AEA6679-13F6-284A-A5CC-7A879725C6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5336" y="2624328"/>
            <a:ext cx="7920000" cy="1380744"/>
          </a:xfrm>
        </p:spPr>
        <p:txBody>
          <a:bodyPr bIns="0" numCol="3" spcCol="720000">
            <a:noAutofit/>
          </a:bodyPr>
          <a:lstStyle>
            <a:lvl1pPr marL="0" indent="0" algn="l">
              <a:lnSpc>
                <a:spcPct val="120000"/>
              </a:lnSpc>
              <a:buNone/>
              <a:defRPr sz="1200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8BF188-90D1-7268-4482-EF7E4DA038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05121" y="252088"/>
            <a:ext cx="1197645" cy="119914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02CDEC9-8294-549C-3D2D-87BC3B2308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4647" y="4480983"/>
            <a:ext cx="759058" cy="35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2475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roo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61DC00D7-8FA6-EA4F-A570-60419B684444}"/>
              </a:ext>
            </a:extLst>
          </p:cNvPr>
          <p:cNvSpPr/>
          <p:nvPr userDrawn="1"/>
        </p:nvSpPr>
        <p:spPr>
          <a:xfrm flipH="1" flipV="1">
            <a:off x="-2" y="-1"/>
            <a:ext cx="9143997" cy="2463130"/>
          </a:xfrm>
          <a:custGeom>
            <a:avLst/>
            <a:gdLst>
              <a:gd name="connsiteX0" fmla="*/ 9143999 w 9143999"/>
              <a:gd name="connsiteY0" fmla="*/ 2591213 h 2591213"/>
              <a:gd name="connsiteX1" fmla="*/ 0 w 9143999"/>
              <a:gd name="connsiteY1" fmla="*/ 2591213 h 2591213"/>
              <a:gd name="connsiteX2" fmla="*/ 0 w 9143999"/>
              <a:gd name="connsiteY2" fmla="*/ 2083213 h 2591213"/>
              <a:gd name="connsiteX3" fmla="*/ 0 w 9143999"/>
              <a:gd name="connsiteY3" fmla="*/ 1309179 h 2591213"/>
              <a:gd name="connsiteX4" fmla="*/ 0 w 9143999"/>
              <a:gd name="connsiteY4" fmla="*/ 1301051 h 2591213"/>
              <a:gd name="connsiteX5" fmla="*/ 0 w 9143999"/>
              <a:gd name="connsiteY5" fmla="*/ 801179 h 2591213"/>
              <a:gd name="connsiteX6" fmla="*/ 0 w 9143999"/>
              <a:gd name="connsiteY6" fmla="*/ 793051 h 2591213"/>
              <a:gd name="connsiteX7" fmla="*/ 92766 w 9143999"/>
              <a:gd name="connsiteY7" fmla="*/ 793051 h 2591213"/>
              <a:gd name="connsiteX8" fmla="*/ 9143998 w 9143999"/>
              <a:gd name="connsiteY8" fmla="*/ 0 h 2591213"/>
              <a:gd name="connsiteX9" fmla="*/ 9143998 w 9143999"/>
              <a:gd name="connsiteY9" fmla="*/ 508000 h 2591213"/>
              <a:gd name="connsiteX10" fmla="*/ 9143998 w 9143999"/>
              <a:gd name="connsiteY10" fmla="*/ 793051 h 2591213"/>
              <a:gd name="connsiteX11" fmla="*/ 9143999 w 9143999"/>
              <a:gd name="connsiteY11" fmla="*/ 793051 h 2591213"/>
              <a:gd name="connsiteX12" fmla="*/ 9143999 w 9143999"/>
              <a:gd name="connsiteY12" fmla="*/ 1301051 h 2591213"/>
              <a:gd name="connsiteX13" fmla="*/ 9143999 w 9143999"/>
              <a:gd name="connsiteY13" fmla="*/ 2083213 h 2591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143999" h="2591213">
                <a:moveTo>
                  <a:pt x="9143999" y="2591213"/>
                </a:moveTo>
                <a:lnTo>
                  <a:pt x="0" y="2591213"/>
                </a:lnTo>
                <a:lnTo>
                  <a:pt x="0" y="2083213"/>
                </a:lnTo>
                <a:lnTo>
                  <a:pt x="0" y="1309179"/>
                </a:lnTo>
                <a:lnTo>
                  <a:pt x="0" y="1301051"/>
                </a:lnTo>
                <a:lnTo>
                  <a:pt x="0" y="801179"/>
                </a:lnTo>
                <a:lnTo>
                  <a:pt x="0" y="793051"/>
                </a:lnTo>
                <a:lnTo>
                  <a:pt x="92766" y="793051"/>
                </a:lnTo>
                <a:lnTo>
                  <a:pt x="9143998" y="0"/>
                </a:lnTo>
                <a:lnTo>
                  <a:pt x="9143998" y="508000"/>
                </a:lnTo>
                <a:lnTo>
                  <a:pt x="9143998" y="793051"/>
                </a:lnTo>
                <a:lnTo>
                  <a:pt x="9143999" y="793051"/>
                </a:lnTo>
                <a:lnTo>
                  <a:pt x="9143999" y="1301051"/>
                </a:lnTo>
                <a:lnTo>
                  <a:pt x="9143999" y="208321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350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37155686-58FC-A144-90EC-2DDF93FAB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337" y="466344"/>
            <a:ext cx="6630554" cy="1408176"/>
          </a:xfrm>
        </p:spPr>
        <p:txBody>
          <a:bodyPr anchor="b" anchorCtr="0">
            <a:noAutofit/>
          </a:bodyPr>
          <a:lstStyle>
            <a:lvl1pPr indent="0" algn="l">
              <a:lnSpc>
                <a:spcPts val="2850"/>
              </a:lnSpc>
              <a:defRPr sz="2780">
                <a:solidFill>
                  <a:schemeClr val="accent6"/>
                </a:solidFill>
                <a:latin typeface="+mj-lt"/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28" name="Ondertitel 2">
            <a:extLst>
              <a:ext uri="{FF2B5EF4-FFF2-40B4-BE49-F238E27FC236}">
                <a16:creationId xmlns:a16="http://schemas.microsoft.com/office/drawing/2014/main" id="{2AEA6679-13F6-284A-A5CC-7A879725C6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5336" y="2624328"/>
            <a:ext cx="7920000" cy="1380744"/>
          </a:xfrm>
        </p:spPr>
        <p:txBody>
          <a:bodyPr bIns="0" numCol="3" spcCol="720000">
            <a:noAutofit/>
          </a:bodyPr>
          <a:lstStyle>
            <a:lvl1pPr marL="0" indent="0" algn="l">
              <a:lnSpc>
                <a:spcPct val="120000"/>
              </a:lnSpc>
              <a:buNone/>
              <a:defRPr sz="1200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8BF188-90D1-7268-4482-EF7E4DA038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05121" y="252088"/>
            <a:ext cx="1197644" cy="119914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3145C6-A1CE-68CD-5188-C6A98207A7A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4647" y="4480983"/>
            <a:ext cx="759058" cy="35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1697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8106C-5A5B-1C53-673B-8FAC139220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E810B1-106B-814A-EDA3-D1B6EC024A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0DBB4F-5890-8501-DDF4-D29B2A98B8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933679-ADBE-41C0-A00A-D933A158E875}" type="datetimeFigureOut">
              <a:rPr lang="nl-BE" smtClean="0"/>
              <a:t>8/07/2024</a:t>
            </a:fld>
            <a:endParaRPr lang="nl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3D7DC9-7C57-B1C5-EBDA-819353449E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3C2C4A-B770-E0DC-BB09-97CFB3E5BF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0D567-152E-495A-9762-921D68D34EA5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6589016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F49C8802-2D94-9AC2-4AF7-DBD1054F1805}"/>
              </a:ext>
            </a:extLst>
          </p:cNvPr>
          <p:cNvSpPr>
            <a:spLocks/>
          </p:cNvSpPr>
          <p:nvPr userDrawn="1"/>
        </p:nvSpPr>
        <p:spPr>
          <a:xfrm flipV="1">
            <a:off x="0" y="-7312"/>
            <a:ext cx="6228000" cy="5143500"/>
          </a:xfrm>
          <a:custGeom>
            <a:avLst/>
            <a:gdLst>
              <a:gd name="connsiteX0" fmla="*/ 0 w 6228000"/>
              <a:gd name="connsiteY0" fmla="*/ 5143500 h 5143500"/>
              <a:gd name="connsiteX1" fmla="*/ 4384937 w 6228000"/>
              <a:gd name="connsiteY1" fmla="*/ 5143500 h 5143500"/>
              <a:gd name="connsiteX2" fmla="*/ 4384938 w 6228000"/>
              <a:gd name="connsiteY2" fmla="*/ 5143500 h 5143500"/>
              <a:gd name="connsiteX3" fmla="*/ 6228000 w 6228000"/>
              <a:gd name="connsiteY3" fmla="*/ 5143500 h 5143500"/>
              <a:gd name="connsiteX4" fmla="*/ 4384938 w 6228000"/>
              <a:gd name="connsiteY4" fmla="*/ 1214 h 5143500"/>
              <a:gd name="connsiteX5" fmla="*/ 4384938 w 6228000"/>
              <a:gd name="connsiteY5" fmla="*/ 0 h 5143500"/>
              <a:gd name="connsiteX6" fmla="*/ 0 w 6228000"/>
              <a:gd name="connsiteY6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28000" h="5143500">
                <a:moveTo>
                  <a:pt x="0" y="5143500"/>
                </a:moveTo>
                <a:lnTo>
                  <a:pt x="4384937" y="5143500"/>
                </a:lnTo>
                <a:lnTo>
                  <a:pt x="4384938" y="5143500"/>
                </a:lnTo>
                <a:lnTo>
                  <a:pt x="6228000" y="5143500"/>
                </a:lnTo>
                <a:lnTo>
                  <a:pt x="4384938" y="1214"/>
                </a:lnTo>
                <a:lnTo>
                  <a:pt x="438493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350">
              <a:latin typeface="FlandersArtSans-Regular" panose="00000500000000000000" pitchFamily="2" charset="0"/>
            </a:endParaRPr>
          </a:p>
        </p:txBody>
      </p:sp>
      <p:sp>
        <p:nvSpPr>
          <p:cNvPr id="8" name="Titel 1"/>
          <p:cNvSpPr>
            <a:spLocks noGrp="1"/>
          </p:cNvSpPr>
          <p:nvPr>
            <p:ph type="ctrTitle"/>
          </p:nvPr>
        </p:nvSpPr>
        <p:spPr>
          <a:xfrm>
            <a:off x="1238478" y="2743199"/>
            <a:ext cx="3456131" cy="826887"/>
          </a:xfrm>
        </p:spPr>
        <p:txBody>
          <a:bodyPr anchor="b" anchorCtr="0">
            <a:noAutofit/>
          </a:bodyPr>
          <a:lstStyle>
            <a:lvl1pPr algn="l">
              <a:lnSpc>
                <a:spcPts val="2850"/>
              </a:lnSpc>
              <a:defRPr sz="2775" b="0" i="0">
                <a:latin typeface="+mj-lt"/>
                <a:cs typeface="Calibri"/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ADC3AB0-4813-A2CF-C014-1AB5B4E7D7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65006" y="216001"/>
            <a:ext cx="1821067" cy="70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1339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0825" y="227830"/>
            <a:ext cx="7416000" cy="286749"/>
          </a:xfrm>
        </p:spPr>
        <p:txBody>
          <a:bodyPr anchor="t" anchorCtr="0"/>
          <a:lstStyle>
            <a:lvl1pPr>
              <a:defRPr sz="2000" b="0" i="0">
                <a:latin typeface="+mj-lt"/>
                <a:cs typeface="Calibri"/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530826" y="1057923"/>
            <a:ext cx="4099958" cy="2835000"/>
          </a:xfrm>
          <a:prstGeom prst="rect">
            <a:avLst/>
          </a:prstGeom>
        </p:spPr>
        <p:txBody>
          <a:bodyPr bIns="0"/>
          <a:lstStyle>
            <a:lvl1pPr>
              <a:spcBef>
                <a:spcPts val="225"/>
              </a:spcBef>
              <a:defRPr sz="1500">
                <a:latin typeface="FlandersArtSans-Regular" panose="00000500000000000000" pitchFamily="2" charset="0"/>
                <a:cs typeface="Calibri"/>
              </a:defRPr>
            </a:lvl1pPr>
            <a:lvl2pPr>
              <a:spcBef>
                <a:spcPts val="225"/>
              </a:spcBef>
              <a:defRPr sz="1500">
                <a:solidFill>
                  <a:schemeClr val="bg1">
                    <a:lumMod val="50000"/>
                  </a:schemeClr>
                </a:solidFill>
                <a:latin typeface="FlandersArtSans-Regular" panose="00000500000000000000" pitchFamily="2" charset="0"/>
                <a:cs typeface="Calibri"/>
              </a:defRPr>
            </a:lvl2pPr>
            <a:lvl3pPr>
              <a:spcBef>
                <a:spcPts val="225"/>
              </a:spcBef>
              <a:defRPr sz="1350">
                <a:latin typeface="FlandersArtSans-Regular" panose="00000500000000000000" pitchFamily="2" charset="0"/>
                <a:cs typeface="Calibri"/>
              </a:defRPr>
            </a:lvl3pPr>
            <a:lvl4pPr>
              <a:spcBef>
                <a:spcPts val="225"/>
              </a:spcBef>
              <a:defRPr sz="1350">
                <a:latin typeface="FlandersArtSans-Regular" panose="00000500000000000000" pitchFamily="2" charset="0"/>
                <a:cs typeface="Calibri"/>
              </a:defRPr>
            </a:lvl4pPr>
            <a:lvl5pPr>
              <a:spcBef>
                <a:spcPts val="225"/>
              </a:spcBef>
              <a:defRPr sz="1350">
                <a:latin typeface="FlandersArtSans-Regular" panose="00000500000000000000" pitchFamily="2" charset="0"/>
                <a:cs typeface="Calibri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0" name="Tijdelijke aanduiding voor inhoud 3"/>
          <p:cNvSpPr>
            <a:spLocks noGrp="1"/>
          </p:cNvSpPr>
          <p:nvPr>
            <p:ph sz="half" idx="13"/>
          </p:nvPr>
        </p:nvSpPr>
        <p:spPr>
          <a:xfrm>
            <a:off x="4786114" y="1057923"/>
            <a:ext cx="4099958" cy="2835000"/>
          </a:xfrm>
          <a:prstGeom prst="rect">
            <a:avLst/>
          </a:prstGeom>
        </p:spPr>
        <p:txBody>
          <a:bodyPr bIns="0"/>
          <a:lstStyle>
            <a:lvl1pPr>
              <a:defRPr sz="1500">
                <a:latin typeface="FlandersArtSans-Regular" panose="00000500000000000000" pitchFamily="2" charset="0"/>
                <a:cs typeface="Calibri"/>
              </a:defRPr>
            </a:lvl1pPr>
            <a:lvl2pPr>
              <a:spcBef>
                <a:spcPts val="225"/>
              </a:spcBef>
              <a:defRPr sz="1500">
                <a:solidFill>
                  <a:schemeClr val="bg1">
                    <a:lumMod val="50000"/>
                  </a:schemeClr>
                </a:solidFill>
                <a:latin typeface="FlandersArtSans-Regular" panose="00000500000000000000" pitchFamily="2" charset="0"/>
                <a:cs typeface="Calibri"/>
              </a:defRPr>
            </a:lvl2pPr>
            <a:lvl3pPr>
              <a:spcBef>
                <a:spcPts val="225"/>
              </a:spcBef>
              <a:defRPr sz="1350">
                <a:latin typeface="FlandersArtSans-Regular" panose="00000500000000000000" pitchFamily="2" charset="0"/>
                <a:cs typeface="Calibri"/>
              </a:defRPr>
            </a:lvl3pPr>
            <a:lvl4pPr>
              <a:spcBef>
                <a:spcPts val="225"/>
              </a:spcBef>
              <a:defRPr sz="1350">
                <a:latin typeface="FlandersArtSans-Regular" panose="00000500000000000000" pitchFamily="2" charset="0"/>
                <a:cs typeface="Calibri"/>
              </a:defRPr>
            </a:lvl4pPr>
            <a:lvl5pPr>
              <a:spcBef>
                <a:spcPts val="225"/>
              </a:spcBef>
              <a:defRPr sz="1350">
                <a:latin typeface="FlandersArtSans-Regular" panose="00000500000000000000" pitchFamily="2" charset="0"/>
                <a:cs typeface="Calibri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5" name="Rechthoek 14"/>
          <p:cNvSpPr/>
          <p:nvPr userDrawn="1"/>
        </p:nvSpPr>
        <p:spPr>
          <a:xfrm>
            <a:off x="2" y="0"/>
            <a:ext cx="282207" cy="5143500"/>
          </a:xfrm>
          <a:prstGeom prst="rect">
            <a:avLst/>
          </a:prstGeom>
          <a:solidFill>
            <a:srgbClr val="D26E25"/>
          </a:solidFill>
          <a:ln>
            <a:solidFill>
              <a:srgbClr val="D26E2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>
              <a:latin typeface="FlandersArtSans-Regular" panose="00000500000000000000" pitchFamily="2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207030A-DC20-2260-AFF6-2C4FE23E72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65006" y="216001"/>
            <a:ext cx="1821067" cy="701695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320502-9174-4186-8682-9DE8218D1E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0826" y="542094"/>
            <a:ext cx="8404169" cy="225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24376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afbeelding 2"/>
          <p:cNvSpPr>
            <a:spLocks noGrp="1"/>
          </p:cNvSpPr>
          <p:nvPr>
            <p:ph type="pic" sz="quarter" idx="14"/>
          </p:nvPr>
        </p:nvSpPr>
        <p:spPr>
          <a:xfrm>
            <a:off x="4380026" y="-9237"/>
            <a:ext cx="4765997" cy="5159087"/>
          </a:xfrm>
          <a:custGeom>
            <a:avLst/>
            <a:gdLst>
              <a:gd name="connsiteX0" fmla="*/ 0 w 4699322"/>
              <a:gd name="connsiteY0" fmla="*/ 5143501 h 5143501"/>
              <a:gd name="connsiteX1" fmla="*/ 1830621 w 4699322"/>
              <a:gd name="connsiteY1" fmla="*/ 0 h 5143501"/>
              <a:gd name="connsiteX2" fmla="*/ 2868701 w 4699322"/>
              <a:gd name="connsiteY2" fmla="*/ 0 h 5143501"/>
              <a:gd name="connsiteX3" fmla="*/ 4699322 w 4699322"/>
              <a:gd name="connsiteY3" fmla="*/ 5143501 h 5143501"/>
              <a:gd name="connsiteX4" fmla="*/ 0 w 4699322"/>
              <a:gd name="connsiteY4" fmla="*/ 5143501 h 5143501"/>
              <a:gd name="connsiteX0" fmla="*/ 0 w 4762156"/>
              <a:gd name="connsiteY0" fmla="*/ 5152737 h 5152737"/>
              <a:gd name="connsiteX1" fmla="*/ 1830621 w 4762156"/>
              <a:gd name="connsiteY1" fmla="*/ 9236 h 5152737"/>
              <a:gd name="connsiteX2" fmla="*/ 4762156 w 4762156"/>
              <a:gd name="connsiteY2" fmla="*/ 0 h 5152737"/>
              <a:gd name="connsiteX3" fmla="*/ 4699322 w 4762156"/>
              <a:gd name="connsiteY3" fmla="*/ 5152737 h 5152737"/>
              <a:gd name="connsiteX4" fmla="*/ 0 w 4762156"/>
              <a:gd name="connsiteY4" fmla="*/ 5152737 h 5152737"/>
              <a:gd name="connsiteX0" fmla="*/ 0 w 4765997"/>
              <a:gd name="connsiteY0" fmla="*/ 5152737 h 5159087"/>
              <a:gd name="connsiteX1" fmla="*/ 1830621 w 4765997"/>
              <a:gd name="connsiteY1" fmla="*/ 9236 h 5159087"/>
              <a:gd name="connsiteX2" fmla="*/ 4762156 w 4765997"/>
              <a:gd name="connsiteY2" fmla="*/ 0 h 5159087"/>
              <a:gd name="connsiteX3" fmla="*/ 4765997 w 4765997"/>
              <a:gd name="connsiteY3" fmla="*/ 5159087 h 5159087"/>
              <a:gd name="connsiteX4" fmla="*/ 0 w 4765997"/>
              <a:gd name="connsiteY4" fmla="*/ 5152737 h 5159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65997" h="5159087">
                <a:moveTo>
                  <a:pt x="0" y="5152737"/>
                </a:moveTo>
                <a:lnTo>
                  <a:pt x="1830621" y="9236"/>
                </a:lnTo>
                <a:lnTo>
                  <a:pt x="4762156" y="0"/>
                </a:lnTo>
                <a:cubicBezTo>
                  <a:pt x="4763436" y="1719696"/>
                  <a:pt x="4764717" y="3439391"/>
                  <a:pt x="4765997" y="5159087"/>
                </a:cubicBezTo>
                <a:lnTo>
                  <a:pt x="0" y="5152737"/>
                </a:lnTo>
                <a:close/>
              </a:path>
            </a:pathLst>
          </a:custGeom>
        </p:spPr>
        <p:txBody>
          <a:bodyPr anchor="ctr"/>
          <a:lstStyle>
            <a:lvl1pPr marL="0" indent="0" algn="r">
              <a:buNone/>
              <a:defRPr>
                <a:solidFill>
                  <a:srgbClr val="FF0000"/>
                </a:solidFill>
                <a:latin typeface="FlandersArtSans-Regular" panose="00000500000000000000" pitchFamily="2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BE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F49C8802-2D94-9AC2-4AF7-DBD1054F1805}"/>
              </a:ext>
            </a:extLst>
          </p:cNvPr>
          <p:cNvSpPr>
            <a:spLocks/>
          </p:cNvSpPr>
          <p:nvPr userDrawn="1"/>
        </p:nvSpPr>
        <p:spPr>
          <a:xfrm flipV="1">
            <a:off x="-1" y="0"/>
            <a:ext cx="6228000" cy="5143500"/>
          </a:xfrm>
          <a:custGeom>
            <a:avLst/>
            <a:gdLst>
              <a:gd name="connsiteX0" fmla="*/ 0 w 6228000"/>
              <a:gd name="connsiteY0" fmla="*/ 5143500 h 5143500"/>
              <a:gd name="connsiteX1" fmla="*/ 4384937 w 6228000"/>
              <a:gd name="connsiteY1" fmla="*/ 5143500 h 5143500"/>
              <a:gd name="connsiteX2" fmla="*/ 4384938 w 6228000"/>
              <a:gd name="connsiteY2" fmla="*/ 5143500 h 5143500"/>
              <a:gd name="connsiteX3" fmla="*/ 6228000 w 6228000"/>
              <a:gd name="connsiteY3" fmla="*/ 5143500 h 5143500"/>
              <a:gd name="connsiteX4" fmla="*/ 4384938 w 6228000"/>
              <a:gd name="connsiteY4" fmla="*/ 1214 h 5143500"/>
              <a:gd name="connsiteX5" fmla="*/ 4384938 w 6228000"/>
              <a:gd name="connsiteY5" fmla="*/ 0 h 5143500"/>
              <a:gd name="connsiteX6" fmla="*/ 0 w 6228000"/>
              <a:gd name="connsiteY6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28000" h="5143500">
                <a:moveTo>
                  <a:pt x="0" y="5143500"/>
                </a:moveTo>
                <a:lnTo>
                  <a:pt x="4384937" y="5143500"/>
                </a:lnTo>
                <a:lnTo>
                  <a:pt x="4384938" y="5143500"/>
                </a:lnTo>
                <a:lnTo>
                  <a:pt x="6228000" y="5143500"/>
                </a:lnTo>
                <a:lnTo>
                  <a:pt x="4384938" y="1214"/>
                </a:lnTo>
                <a:lnTo>
                  <a:pt x="438493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350">
              <a:latin typeface="FlandersArtSans-Regular" panose="00000500000000000000" pitchFamily="2" charset="0"/>
            </a:endParaRPr>
          </a:p>
        </p:txBody>
      </p:sp>
      <p:sp>
        <p:nvSpPr>
          <p:cNvPr id="8" name="Titel 1"/>
          <p:cNvSpPr>
            <a:spLocks noGrp="1"/>
          </p:cNvSpPr>
          <p:nvPr>
            <p:ph type="ctrTitle"/>
          </p:nvPr>
        </p:nvSpPr>
        <p:spPr>
          <a:xfrm>
            <a:off x="1332001" y="567635"/>
            <a:ext cx="3456131" cy="1350000"/>
          </a:xfrm>
        </p:spPr>
        <p:txBody>
          <a:bodyPr anchor="b" anchorCtr="0">
            <a:noAutofit/>
          </a:bodyPr>
          <a:lstStyle>
            <a:lvl1pPr algn="l">
              <a:lnSpc>
                <a:spcPts val="2850"/>
              </a:lnSpc>
              <a:defRPr sz="2775" b="0" i="0">
                <a:latin typeface="+mj-lt"/>
                <a:cs typeface="Calibri"/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5" name="Tijdelijke aanduiding voor inhoud 4"/>
          <p:cNvSpPr>
            <a:spLocks noGrp="1"/>
          </p:cNvSpPr>
          <p:nvPr>
            <p:ph sz="quarter" idx="13"/>
          </p:nvPr>
        </p:nvSpPr>
        <p:spPr>
          <a:xfrm>
            <a:off x="1332000" y="2240586"/>
            <a:ext cx="3112678" cy="2077574"/>
          </a:xfrm>
        </p:spPr>
        <p:txBody>
          <a:bodyPr/>
          <a:lstStyle>
            <a:lvl1pPr marL="0" indent="0">
              <a:lnSpc>
                <a:spcPts val="1875"/>
              </a:lnSpc>
              <a:spcBef>
                <a:spcPts val="0"/>
              </a:spcBef>
              <a:buFontTx/>
              <a:buNone/>
              <a:defRPr sz="1575">
                <a:latin typeface="FlandersArtSans-Regular" panose="00000500000000000000" pitchFamily="2" charset="0"/>
                <a:cs typeface="Calibri"/>
              </a:defRPr>
            </a:lvl1pPr>
            <a:lvl2pPr>
              <a:defRPr sz="1350">
                <a:latin typeface="FlandersArtSans-Regular" panose="00000500000000000000" pitchFamily="2" charset="0"/>
                <a:cs typeface="Calibri"/>
              </a:defRPr>
            </a:lvl2pPr>
            <a:lvl3pPr>
              <a:defRPr sz="1350">
                <a:latin typeface="FlandersArtSans-Regular" panose="00000500000000000000" pitchFamily="2" charset="0"/>
                <a:cs typeface="Calibri"/>
              </a:defRPr>
            </a:lvl3pPr>
            <a:lvl4pPr>
              <a:defRPr sz="1350">
                <a:latin typeface="FlandersArtSans-Regular" panose="00000500000000000000" pitchFamily="2" charset="0"/>
                <a:cs typeface="Calibri"/>
              </a:defRPr>
            </a:lvl4pPr>
            <a:lvl5pPr>
              <a:defRPr sz="1350">
                <a:latin typeface="FlandersArtSans-Regular" panose="00000500000000000000" pitchFamily="2" charset="0"/>
                <a:cs typeface="Calibri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391ECD3-3DDA-A673-33DA-32C9F88662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4158" y="4544299"/>
            <a:ext cx="759058" cy="35771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ADC3AB0-4813-A2CF-C014-1AB5B4E7D7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65005" y="216000"/>
            <a:ext cx="1821067" cy="70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6389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220932-5C34-0F45-A06D-6E391DB56D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0861" y="110611"/>
            <a:ext cx="4922279" cy="492227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4C2FBE2-538B-4D4E-9558-1CE51833AF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86072" y="216001"/>
            <a:ext cx="1800000" cy="70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1856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>
            <a:extLst>
              <a:ext uri="{FF2B5EF4-FFF2-40B4-BE49-F238E27FC236}">
                <a16:creationId xmlns:a16="http://schemas.microsoft.com/office/drawing/2014/main" id="{4D4F39EE-8F0A-2147-8DB7-FC9B4841CECD}"/>
              </a:ext>
            </a:extLst>
          </p:cNvPr>
          <p:cNvSpPr/>
          <p:nvPr userDrawn="1"/>
        </p:nvSpPr>
        <p:spPr>
          <a:xfrm>
            <a:off x="0" y="-1"/>
            <a:ext cx="6678246" cy="5143501"/>
          </a:xfrm>
          <a:custGeom>
            <a:avLst/>
            <a:gdLst>
              <a:gd name="connsiteX0" fmla="*/ 2005238 w 6678246"/>
              <a:gd name="connsiteY0" fmla="*/ 0 h 5143501"/>
              <a:gd name="connsiteX1" fmla="*/ 6678246 w 6678246"/>
              <a:gd name="connsiteY1" fmla="*/ 0 h 5143501"/>
              <a:gd name="connsiteX2" fmla="*/ 3728037 w 6678246"/>
              <a:gd name="connsiteY2" fmla="*/ 5143501 h 5143501"/>
              <a:gd name="connsiteX3" fmla="*/ 2106246 w 6678246"/>
              <a:gd name="connsiteY3" fmla="*/ 5143501 h 5143501"/>
              <a:gd name="connsiteX4" fmla="*/ 0 w 6678246"/>
              <a:gd name="connsiteY4" fmla="*/ 5143501 h 5143501"/>
              <a:gd name="connsiteX5" fmla="*/ 0 w 6678246"/>
              <a:gd name="connsiteY5" fmla="*/ 1 h 5143501"/>
              <a:gd name="connsiteX6" fmla="*/ 2005238 w 6678246"/>
              <a:gd name="connsiteY6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78246" h="5143501">
                <a:moveTo>
                  <a:pt x="2005238" y="0"/>
                </a:moveTo>
                <a:lnTo>
                  <a:pt x="6678246" y="0"/>
                </a:lnTo>
                <a:lnTo>
                  <a:pt x="3728037" y="5143501"/>
                </a:lnTo>
                <a:lnTo>
                  <a:pt x="2106246" y="5143501"/>
                </a:lnTo>
                <a:lnTo>
                  <a:pt x="0" y="5143501"/>
                </a:lnTo>
                <a:lnTo>
                  <a:pt x="0" y="1"/>
                </a:lnTo>
                <a:lnTo>
                  <a:pt x="2005238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69815" y="1701383"/>
            <a:ext cx="3816000" cy="1993692"/>
          </a:xfrm>
        </p:spPr>
        <p:txBody>
          <a:bodyPr anchor="b" anchorCtr="0">
            <a:noAutofit/>
          </a:bodyPr>
          <a:lstStyle>
            <a:lvl1pPr algn="r">
              <a:lnSpc>
                <a:spcPts val="3000"/>
              </a:lnSpc>
              <a:defRPr sz="3000" baseline="0">
                <a:solidFill>
                  <a:schemeClr val="tx1"/>
                </a:solidFill>
                <a:latin typeface="+mj-lt"/>
                <a:cs typeface="Calibri"/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4969815" y="3807501"/>
            <a:ext cx="3816000" cy="176933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r">
              <a:lnSpc>
                <a:spcPct val="120000"/>
              </a:lnSpc>
              <a:spcBef>
                <a:spcPts val="0"/>
              </a:spcBef>
              <a:buNone/>
              <a:defRPr sz="1185">
                <a:solidFill>
                  <a:schemeClr val="tx1">
                    <a:lumMod val="60000"/>
                    <a:lumOff val="40000"/>
                  </a:schemeClr>
                </a:solidFill>
                <a:latin typeface="FlandersArtSans-Regular" panose="00000500000000000000" pitchFamily="2" charset="0"/>
                <a:cs typeface="Calibri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08E3383-D233-CB0D-0091-DA5AC3C035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86072" y="216001"/>
            <a:ext cx="1800000" cy="70169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2A33DE-0341-4C80-AA69-8BBC013167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185" y="673171"/>
            <a:ext cx="3797156" cy="379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824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CE331D2-AD6A-7444-AB37-F27D0BEA3C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08" t="25976" r="57608" b="61807"/>
          <a:stretch/>
        </p:blipFill>
        <p:spPr>
          <a:xfrm>
            <a:off x="2322577" y="3339718"/>
            <a:ext cx="3061946" cy="23112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54F1305-06A5-024E-9DC0-5C6AF0571A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17" t="25350" r="27015" b="61076"/>
          <a:stretch/>
        </p:blipFill>
        <p:spPr>
          <a:xfrm>
            <a:off x="6565392" y="1601580"/>
            <a:ext cx="2093976" cy="256808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BB0073D-1917-AA4B-86CF-1A7DF0DB51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86" t="52812" r="40484" b="34867"/>
          <a:stretch/>
        </p:blipFill>
        <p:spPr>
          <a:xfrm>
            <a:off x="201168" y="-584527"/>
            <a:ext cx="3713844" cy="2331032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D9130C8E-08BF-A041-B8FA-DE3CE7F601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1816" y="349772"/>
            <a:ext cx="7900370" cy="4443958"/>
          </a:xfrm>
        </p:spPr>
        <p:txBody>
          <a:bodyPr anchor="ctr" anchorCtr="0">
            <a:noAutofit/>
          </a:bodyPr>
          <a:lstStyle>
            <a:lvl1pPr indent="0" algn="ctr">
              <a:lnSpc>
                <a:spcPts val="4050"/>
              </a:lnSpc>
              <a:defRPr sz="4050" b="0" i="0" baseline="0">
                <a:solidFill>
                  <a:schemeClr val="accent5"/>
                </a:solidFill>
                <a:latin typeface="+mj-lt"/>
                <a:cs typeface="Calibri"/>
              </a:defRPr>
            </a:lvl1pPr>
          </a:lstStyle>
          <a:p>
            <a:r>
              <a:rPr lang="nl-NL"/>
              <a:t>Titelstijl van model bewerken</a:t>
            </a:r>
            <a:endParaRPr lang="nl-B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85B7980-FA96-AD2A-F979-2FA3D486DF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86072" y="216001"/>
            <a:ext cx="1800000" cy="70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0672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taf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99A1C9BF-98D1-B133-DD5C-741F84F0ECC0}"/>
              </a:ext>
            </a:extLst>
          </p:cNvPr>
          <p:cNvSpPr/>
          <p:nvPr userDrawn="1"/>
        </p:nvSpPr>
        <p:spPr>
          <a:xfrm flipH="1">
            <a:off x="0" y="1"/>
            <a:ext cx="4505940" cy="5143501"/>
          </a:xfrm>
          <a:custGeom>
            <a:avLst/>
            <a:gdLst>
              <a:gd name="connsiteX0" fmla="*/ 2950209 w 4505940"/>
              <a:gd name="connsiteY0" fmla="*/ 0 h 5143501"/>
              <a:gd name="connsiteX1" fmla="*/ 4505940 w 4505940"/>
              <a:gd name="connsiteY1" fmla="*/ 0 h 5143501"/>
              <a:gd name="connsiteX2" fmla="*/ 4505940 w 4505940"/>
              <a:gd name="connsiteY2" fmla="*/ 5143501 h 5143501"/>
              <a:gd name="connsiteX3" fmla="*/ 0 w 4505940"/>
              <a:gd name="connsiteY3" fmla="*/ 514350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5940" h="5143501">
                <a:moveTo>
                  <a:pt x="2950209" y="0"/>
                </a:moveTo>
                <a:lnTo>
                  <a:pt x="4505940" y="0"/>
                </a:lnTo>
                <a:lnTo>
                  <a:pt x="4505940" y="5143501"/>
                </a:lnTo>
                <a:lnTo>
                  <a:pt x="0" y="514350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7511" y="0"/>
            <a:ext cx="2619446" cy="5143500"/>
          </a:xfrm>
        </p:spPr>
        <p:txBody>
          <a:bodyPr anchor="ctr" anchorCtr="0">
            <a:noAutofit/>
          </a:bodyPr>
          <a:lstStyle>
            <a:lvl1pPr algn="l">
              <a:lnSpc>
                <a:spcPts val="3000"/>
              </a:lnSpc>
              <a:defRPr sz="3000" baseline="0">
                <a:solidFill>
                  <a:schemeClr val="tx1"/>
                </a:solidFill>
                <a:latin typeface="+mj-lt"/>
                <a:cs typeface="Calibri"/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8" name="Ondertitel 2">
            <a:extLst>
              <a:ext uri="{FF2B5EF4-FFF2-40B4-BE49-F238E27FC236}">
                <a16:creationId xmlns:a16="http://schemas.microsoft.com/office/drawing/2014/main" id="{40F52824-D817-314C-A770-A495518E01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0319" y="364068"/>
            <a:ext cx="3610838" cy="4474633"/>
          </a:xfrm>
          <a:prstGeom prst="rect">
            <a:avLst/>
          </a:prstGeom>
          <a:noFill/>
        </p:spPr>
        <p:txBody>
          <a:bodyPr lIns="0" tIns="0" rIns="0" bIns="0" anchor="ctr" anchorCtr="0">
            <a:noAutofit/>
          </a:bodyPr>
          <a:lstStyle>
            <a:lvl1pPr marL="198895" indent="-198895" algn="l">
              <a:lnSpc>
                <a:spcPct val="120000"/>
              </a:lnSpc>
              <a:spcBef>
                <a:spcPts val="0"/>
              </a:spcBef>
              <a:buFont typeface="+mj-lt"/>
              <a:buAutoNum type="arabicPeriod"/>
              <a:defRPr sz="1800">
                <a:solidFill>
                  <a:schemeClr val="tx1"/>
                </a:solidFill>
                <a:latin typeface="FlandersArtSans-Regular" panose="00000500000000000000" pitchFamily="2" charset="0"/>
                <a:cs typeface="Calibri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623666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LGEM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el 1">
            <a:extLst>
              <a:ext uri="{FF2B5EF4-FFF2-40B4-BE49-F238E27FC236}">
                <a16:creationId xmlns:a16="http://schemas.microsoft.com/office/drawing/2014/main" id="{37155686-58FC-A144-90EC-2DDF93FAB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338" y="456696"/>
            <a:ext cx="3108049" cy="1555200"/>
          </a:xfrm>
        </p:spPr>
        <p:txBody>
          <a:bodyPr anchor="b" anchorCtr="0">
            <a:noAutofit/>
          </a:bodyPr>
          <a:lstStyle>
            <a:lvl1pPr indent="0" algn="l">
              <a:lnSpc>
                <a:spcPts val="4050"/>
              </a:lnSpc>
              <a:defRPr sz="40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28" name="Ondertitel 2">
            <a:extLst>
              <a:ext uri="{FF2B5EF4-FFF2-40B4-BE49-F238E27FC236}">
                <a16:creationId xmlns:a16="http://schemas.microsoft.com/office/drawing/2014/main" id="{2AEA6679-13F6-284A-A5CC-7A879725C6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5336" y="2231136"/>
            <a:ext cx="5792885" cy="1773936"/>
          </a:xfrm>
          <a:prstGeom prst="rect">
            <a:avLst/>
          </a:prstGeom>
        </p:spPr>
        <p:txBody>
          <a:bodyPr bIns="0">
            <a:noAutofit/>
          </a:bodyPr>
          <a:lstStyle>
            <a:lvl1pPr marL="0" indent="0" algn="l">
              <a:lnSpc>
                <a:spcPct val="120000"/>
              </a:lnSpc>
              <a:buNone/>
              <a:defRPr sz="1200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0613245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LGEMEEN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>
            <a:extLst>
              <a:ext uri="{FF2B5EF4-FFF2-40B4-BE49-F238E27FC236}">
                <a16:creationId xmlns:a16="http://schemas.microsoft.com/office/drawing/2014/main" id="{B2801CD2-2A47-9248-A41C-9779AC803D03}"/>
              </a:ext>
            </a:extLst>
          </p:cNvPr>
          <p:cNvSpPr/>
          <p:nvPr userDrawn="1"/>
        </p:nvSpPr>
        <p:spPr>
          <a:xfrm>
            <a:off x="4638060" y="-1"/>
            <a:ext cx="4505940" cy="5143501"/>
          </a:xfrm>
          <a:custGeom>
            <a:avLst/>
            <a:gdLst>
              <a:gd name="connsiteX0" fmla="*/ 2950209 w 4505940"/>
              <a:gd name="connsiteY0" fmla="*/ 0 h 5143501"/>
              <a:gd name="connsiteX1" fmla="*/ 4505940 w 4505940"/>
              <a:gd name="connsiteY1" fmla="*/ 0 h 5143501"/>
              <a:gd name="connsiteX2" fmla="*/ 4505940 w 4505940"/>
              <a:gd name="connsiteY2" fmla="*/ 5143501 h 5143501"/>
              <a:gd name="connsiteX3" fmla="*/ 0 w 4505940"/>
              <a:gd name="connsiteY3" fmla="*/ 514350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5940" h="5143501">
                <a:moveTo>
                  <a:pt x="2950209" y="0"/>
                </a:moveTo>
                <a:lnTo>
                  <a:pt x="4505940" y="0"/>
                </a:lnTo>
                <a:lnTo>
                  <a:pt x="4505940" y="5143501"/>
                </a:lnTo>
                <a:lnTo>
                  <a:pt x="0" y="514350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37155686-58FC-A144-90EC-2DDF93FAB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338" y="456696"/>
            <a:ext cx="3108049" cy="1555200"/>
          </a:xfrm>
        </p:spPr>
        <p:txBody>
          <a:bodyPr anchor="b" anchorCtr="0">
            <a:noAutofit/>
          </a:bodyPr>
          <a:lstStyle>
            <a:lvl1pPr indent="0" algn="l">
              <a:lnSpc>
                <a:spcPts val="4050"/>
              </a:lnSpc>
              <a:defRPr sz="40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28" name="Ondertitel 2">
            <a:extLst>
              <a:ext uri="{FF2B5EF4-FFF2-40B4-BE49-F238E27FC236}">
                <a16:creationId xmlns:a16="http://schemas.microsoft.com/office/drawing/2014/main" id="{2AEA6679-13F6-284A-A5CC-7A879725C6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5336" y="2231136"/>
            <a:ext cx="5792884" cy="1773936"/>
          </a:xfrm>
          <a:prstGeom prst="rect">
            <a:avLst/>
          </a:prstGeom>
        </p:spPr>
        <p:txBody>
          <a:bodyPr bIns="0" numCol="2" spcCol="720000">
            <a:noAutofit/>
          </a:bodyPr>
          <a:lstStyle>
            <a:lvl1pPr marL="0" indent="0" algn="l">
              <a:lnSpc>
                <a:spcPct val="120000"/>
              </a:lnSpc>
              <a:buNone/>
              <a:defRPr sz="1200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0D0CBD5-97CB-0448-B11B-7E6F031BD38A}"/>
              </a:ext>
            </a:extLst>
          </p:cNvPr>
          <p:cNvGrpSpPr/>
          <p:nvPr userDrawn="1"/>
        </p:nvGrpSpPr>
        <p:grpSpPr>
          <a:xfrm>
            <a:off x="543140" y="2021305"/>
            <a:ext cx="3128211" cy="50189"/>
            <a:chOff x="0" y="0"/>
            <a:chExt cx="9144000" cy="9144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147FB9E-D887-094A-A2C6-01F3F900500C}"/>
                </a:ext>
              </a:extLst>
            </p:cNvPr>
            <p:cNvSpPr/>
            <p:nvPr userDrawn="1"/>
          </p:nvSpPr>
          <p:spPr>
            <a:xfrm>
              <a:off x="0" y="0"/>
              <a:ext cx="3045600" cy="91440"/>
            </a:xfrm>
            <a:prstGeom prst="rect">
              <a:avLst/>
            </a:prstGeom>
            <a:solidFill>
              <a:srgbClr val="E633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 sz="240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E83E044-6BBB-BD44-9C58-85DD725609E7}"/>
                </a:ext>
              </a:extLst>
            </p:cNvPr>
            <p:cNvSpPr/>
            <p:nvPr userDrawn="1"/>
          </p:nvSpPr>
          <p:spPr>
            <a:xfrm>
              <a:off x="3049200" y="0"/>
              <a:ext cx="3045600" cy="91440"/>
            </a:xfrm>
            <a:prstGeom prst="rect">
              <a:avLst/>
            </a:prstGeom>
            <a:solidFill>
              <a:srgbClr val="F0A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 sz="240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8D41E15-B2A2-9B41-9997-F538E6F2D0ED}"/>
                </a:ext>
              </a:extLst>
            </p:cNvPr>
            <p:cNvSpPr/>
            <p:nvPr userDrawn="1"/>
          </p:nvSpPr>
          <p:spPr>
            <a:xfrm>
              <a:off x="6098400" y="0"/>
              <a:ext cx="3045600" cy="91440"/>
            </a:xfrm>
            <a:prstGeom prst="rect">
              <a:avLst/>
            </a:prstGeom>
            <a:solidFill>
              <a:srgbClr val="D36D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 sz="2400"/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2DA6BEC8-1B51-E823-734B-310D991F22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02642" y="2179453"/>
            <a:ext cx="1686936" cy="1689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0786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r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>
            <a:extLst>
              <a:ext uri="{FF2B5EF4-FFF2-40B4-BE49-F238E27FC236}">
                <a16:creationId xmlns:a16="http://schemas.microsoft.com/office/drawing/2014/main" id="{34D6337E-C64B-FC4D-97A5-DF801AE6CE3E}"/>
              </a:ext>
            </a:extLst>
          </p:cNvPr>
          <p:cNvSpPr/>
          <p:nvPr userDrawn="1"/>
        </p:nvSpPr>
        <p:spPr>
          <a:xfrm>
            <a:off x="-7474" y="-1"/>
            <a:ext cx="9151474" cy="5143501"/>
          </a:xfrm>
          <a:custGeom>
            <a:avLst/>
            <a:gdLst>
              <a:gd name="connsiteX0" fmla="*/ 4478466 w 9151474"/>
              <a:gd name="connsiteY0" fmla="*/ 0 h 5143501"/>
              <a:gd name="connsiteX1" fmla="*/ 9151474 w 9151474"/>
              <a:gd name="connsiteY1" fmla="*/ 0 h 5143501"/>
              <a:gd name="connsiteX2" fmla="*/ 6201265 w 9151474"/>
              <a:gd name="connsiteY2" fmla="*/ 5143501 h 5143501"/>
              <a:gd name="connsiteX3" fmla="*/ 4579474 w 9151474"/>
              <a:gd name="connsiteY3" fmla="*/ 5143501 h 5143501"/>
              <a:gd name="connsiteX4" fmla="*/ 1528257 w 9151474"/>
              <a:gd name="connsiteY4" fmla="*/ 5143501 h 5143501"/>
              <a:gd name="connsiteX5" fmla="*/ 0 w 9151474"/>
              <a:gd name="connsiteY5" fmla="*/ 5143501 h 5143501"/>
              <a:gd name="connsiteX6" fmla="*/ 0 w 9151474"/>
              <a:gd name="connsiteY6" fmla="*/ 1 h 5143501"/>
              <a:gd name="connsiteX7" fmla="*/ 4478466 w 9151474"/>
              <a:gd name="connsiteY7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1474" h="5143501">
                <a:moveTo>
                  <a:pt x="4478466" y="0"/>
                </a:moveTo>
                <a:lnTo>
                  <a:pt x="9151474" y="0"/>
                </a:lnTo>
                <a:lnTo>
                  <a:pt x="6201265" y="5143501"/>
                </a:lnTo>
                <a:lnTo>
                  <a:pt x="4579474" y="5143501"/>
                </a:lnTo>
                <a:lnTo>
                  <a:pt x="1528257" y="5143501"/>
                </a:lnTo>
                <a:lnTo>
                  <a:pt x="0" y="5143501"/>
                </a:lnTo>
                <a:lnTo>
                  <a:pt x="0" y="1"/>
                </a:lnTo>
                <a:lnTo>
                  <a:pt x="4478466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362187" y="0"/>
            <a:ext cx="4419628" cy="5143500"/>
          </a:xfrm>
        </p:spPr>
        <p:txBody>
          <a:bodyPr anchor="ctr" anchorCtr="0">
            <a:noAutofit/>
          </a:bodyPr>
          <a:lstStyle>
            <a:lvl1pPr algn="l">
              <a:lnSpc>
                <a:spcPts val="3000"/>
              </a:lnSpc>
              <a:defRPr sz="2800" baseline="0">
                <a:solidFill>
                  <a:schemeClr val="accent4"/>
                </a:solidFill>
                <a:latin typeface="+mj-lt"/>
                <a:cs typeface="Calibri"/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7187184" y="3464573"/>
            <a:ext cx="1682496" cy="1427467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 algn="r">
              <a:lnSpc>
                <a:spcPts val="2300"/>
              </a:lnSpc>
              <a:spcBef>
                <a:spcPts val="0"/>
              </a:spcBef>
              <a:buNone/>
              <a:defRPr sz="2000" b="1">
                <a:solidFill>
                  <a:schemeClr val="accent4"/>
                </a:solidFill>
                <a:latin typeface="FlandersArtSans-Regular" panose="00000500000000000000" pitchFamily="2" charset="0"/>
                <a:cs typeface="Calibri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8D4A95-E83E-44C6-1339-C0C5AE83A4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6894" y="1700198"/>
            <a:ext cx="1740924" cy="1743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62977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r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>
            <a:extLst>
              <a:ext uri="{FF2B5EF4-FFF2-40B4-BE49-F238E27FC236}">
                <a16:creationId xmlns:a16="http://schemas.microsoft.com/office/drawing/2014/main" id="{34D6337E-C64B-FC4D-97A5-DF801AE6CE3E}"/>
              </a:ext>
            </a:extLst>
          </p:cNvPr>
          <p:cNvSpPr/>
          <p:nvPr userDrawn="1"/>
        </p:nvSpPr>
        <p:spPr>
          <a:xfrm>
            <a:off x="-7474" y="-1"/>
            <a:ext cx="9151474" cy="5143501"/>
          </a:xfrm>
          <a:custGeom>
            <a:avLst/>
            <a:gdLst>
              <a:gd name="connsiteX0" fmla="*/ 4478466 w 9151474"/>
              <a:gd name="connsiteY0" fmla="*/ 0 h 5143501"/>
              <a:gd name="connsiteX1" fmla="*/ 9151474 w 9151474"/>
              <a:gd name="connsiteY1" fmla="*/ 0 h 5143501"/>
              <a:gd name="connsiteX2" fmla="*/ 6201265 w 9151474"/>
              <a:gd name="connsiteY2" fmla="*/ 5143501 h 5143501"/>
              <a:gd name="connsiteX3" fmla="*/ 4579474 w 9151474"/>
              <a:gd name="connsiteY3" fmla="*/ 5143501 h 5143501"/>
              <a:gd name="connsiteX4" fmla="*/ 1528257 w 9151474"/>
              <a:gd name="connsiteY4" fmla="*/ 5143501 h 5143501"/>
              <a:gd name="connsiteX5" fmla="*/ 0 w 9151474"/>
              <a:gd name="connsiteY5" fmla="*/ 5143501 h 5143501"/>
              <a:gd name="connsiteX6" fmla="*/ 0 w 9151474"/>
              <a:gd name="connsiteY6" fmla="*/ 1 h 5143501"/>
              <a:gd name="connsiteX7" fmla="*/ 4478466 w 9151474"/>
              <a:gd name="connsiteY7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1474" h="5143501">
                <a:moveTo>
                  <a:pt x="4478466" y="0"/>
                </a:moveTo>
                <a:lnTo>
                  <a:pt x="9151474" y="0"/>
                </a:lnTo>
                <a:lnTo>
                  <a:pt x="6201265" y="5143501"/>
                </a:lnTo>
                <a:lnTo>
                  <a:pt x="4579474" y="5143501"/>
                </a:lnTo>
                <a:lnTo>
                  <a:pt x="1528257" y="5143501"/>
                </a:lnTo>
                <a:lnTo>
                  <a:pt x="0" y="5143501"/>
                </a:lnTo>
                <a:lnTo>
                  <a:pt x="0" y="1"/>
                </a:lnTo>
                <a:lnTo>
                  <a:pt x="4478466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362187" y="0"/>
            <a:ext cx="4419628" cy="5143500"/>
          </a:xfrm>
        </p:spPr>
        <p:txBody>
          <a:bodyPr anchor="ctr" anchorCtr="0">
            <a:noAutofit/>
          </a:bodyPr>
          <a:lstStyle>
            <a:lvl1pPr algn="l">
              <a:lnSpc>
                <a:spcPts val="3000"/>
              </a:lnSpc>
              <a:defRPr sz="2800" baseline="0">
                <a:solidFill>
                  <a:srgbClr val="F0A200"/>
                </a:solidFill>
                <a:latin typeface="+mj-lt"/>
                <a:cs typeface="Calibri"/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7187184" y="3464573"/>
            <a:ext cx="1682496" cy="1427467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 algn="r">
              <a:lnSpc>
                <a:spcPts val="2300"/>
              </a:lnSpc>
              <a:spcBef>
                <a:spcPts val="0"/>
              </a:spcBef>
              <a:buNone/>
              <a:defRPr sz="2000" b="1">
                <a:solidFill>
                  <a:schemeClr val="accent5"/>
                </a:solidFill>
                <a:latin typeface="FlandersArtSans-Regular" panose="00000500000000000000" pitchFamily="2" charset="0"/>
                <a:cs typeface="Calibri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8D4A95-E83E-44C6-1339-C0C5AE83A4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6894" y="1700198"/>
            <a:ext cx="1740924" cy="174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8834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r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>
            <a:extLst>
              <a:ext uri="{FF2B5EF4-FFF2-40B4-BE49-F238E27FC236}">
                <a16:creationId xmlns:a16="http://schemas.microsoft.com/office/drawing/2014/main" id="{34D6337E-C64B-FC4D-97A5-DF801AE6CE3E}"/>
              </a:ext>
            </a:extLst>
          </p:cNvPr>
          <p:cNvSpPr/>
          <p:nvPr userDrawn="1"/>
        </p:nvSpPr>
        <p:spPr>
          <a:xfrm>
            <a:off x="-7474" y="-1"/>
            <a:ext cx="9151474" cy="5143501"/>
          </a:xfrm>
          <a:custGeom>
            <a:avLst/>
            <a:gdLst>
              <a:gd name="connsiteX0" fmla="*/ 4478466 w 9151474"/>
              <a:gd name="connsiteY0" fmla="*/ 0 h 5143501"/>
              <a:gd name="connsiteX1" fmla="*/ 9151474 w 9151474"/>
              <a:gd name="connsiteY1" fmla="*/ 0 h 5143501"/>
              <a:gd name="connsiteX2" fmla="*/ 6201265 w 9151474"/>
              <a:gd name="connsiteY2" fmla="*/ 5143501 h 5143501"/>
              <a:gd name="connsiteX3" fmla="*/ 4579474 w 9151474"/>
              <a:gd name="connsiteY3" fmla="*/ 5143501 h 5143501"/>
              <a:gd name="connsiteX4" fmla="*/ 1528257 w 9151474"/>
              <a:gd name="connsiteY4" fmla="*/ 5143501 h 5143501"/>
              <a:gd name="connsiteX5" fmla="*/ 0 w 9151474"/>
              <a:gd name="connsiteY5" fmla="*/ 5143501 h 5143501"/>
              <a:gd name="connsiteX6" fmla="*/ 0 w 9151474"/>
              <a:gd name="connsiteY6" fmla="*/ 1 h 5143501"/>
              <a:gd name="connsiteX7" fmla="*/ 4478466 w 9151474"/>
              <a:gd name="connsiteY7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1474" h="5143501">
                <a:moveTo>
                  <a:pt x="4478466" y="0"/>
                </a:moveTo>
                <a:lnTo>
                  <a:pt x="9151474" y="0"/>
                </a:lnTo>
                <a:lnTo>
                  <a:pt x="6201265" y="5143501"/>
                </a:lnTo>
                <a:lnTo>
                  <a:pt x="4579474" y="5143501"/>
                </a:lnTo>
                <a:lnTo>
                  <a:pt x="1528257" y="5143501"/>
                </a:lnTo>
                <a:lnTo>
                  <a:pt x="0" y="5143501"/>
                </a:lnTo>
                <a:lnTo>
                  <a:pt x="0" y="1"/>
                </a:lnTo>
                <a:lnTo>
                  <a:pt x="4478466" y="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362187" y="0"/>
            <a:ext cx="4419628" cy="5143500"/>
          </a:xfrm>
        </p:spPr>
        <p:txBody>
          <a:bodyPr anchor="ctr" anchorCtr="0">
            <a:noAutofit/>
          </a:bodyPr>
          <a:lstStyle>
            <a:lvl1pPr algn="l">
              <a:lnSpc>
                <a:spcPts val="3000"/>
              </a:lnSpc>
              <a:defRPr sz="2800" baseline="0">
                <a:solidFill>
                  <a:srgbClr val="D36D24"/>
                </a:solidFill>
                <a:latin typeface="+mj-lt"/>
                <a:cs typeface="Calibri"/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7187184" y="3464573"/>
            <a:ext cx="1682496" cy="1427467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 algn="r">
              <a:lnSpc>
                <a:spcPts val="2300"/>
              </a:lnSpc>
              <a:spcBef>
                <a:spcPts val="0"/>
              </a:spcBef>
              <a:buNone/>
              <a:defRPr sz="2000" b="1">
                <a:solidFill>
                  <a:schemeClr val="accent6"/>
                </a:solidFill>
                <a:latin typeface="FlandersArtSans-Regular" panose="00000500000000000000" pitchFamily="2" charset="0"/>
                <a:cs typeface="Calibri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8D4A95-E83E-44C6-1339-C0C5AE83A4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6895" y="1700198"/>
            <a:ext cx="1740923" cy="174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49075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oo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A7DEC9B0-CDAE-7D49-AB22-5F33641D246E}"/>
              </a:ext>
            </a:extLst>
          </p:cNvPr>
          <p:cNvSpPr/>
          <p:nvPr userDrawn="1"/>
        </p:nvSpPr>
        <p:spPr>
          <a:xfrm>
            <a:off x="4638060" y="-1"/>
            <a:ext cx="4505940" cy="5143501"/>
          </a:xfrm>
          <a:custGeom>
            <a:avLst/>
            <a:gdLst>
              <a:gd name="connsiteX0" fmla="*/ 2950209 w 4505940"/>
              <a:gd name="connsiteY0" fmla="*/ 0 h 5143501"/>
              <a:gd name="connsiteX1" fmla="*/ 4505940 w 4505940"/>
              <a:gd name="connsiteY1" fmla="*/ 0 h 5143501"/>
              <a:gd name="connsiteX2" fmla="*/ 4505940 w 4505940"/>
              <a:gd name="connsiteY2" fmla="*/ 5143501 h 5143501"/>
              <a:gd name="connsiteX3" fmla="*/ 0 w 4505940"/>
              <a:gd name="connsiteY3" fmla="*/ 514350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5940" h="5143501">
                <a:moveTo>
                  <a:pt x="2950209" y="0"/>
                </a:moveTo>
                <a:lnTo>
                  <a:pt x="4505940" y="0"/>
                </a:lnTo>
                <a:lnTo>
                  <a:pt x="4505940" y="5143501"/>
                </a:lnTo>
                <a:lnTo>
                  <a:pt x="0" y="514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3B096449-F8DC-0E4E-A8F4-7022058CED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23453" y="1899915"/>
            <a:ext cx="2245314" cy="2248120"/>
          </a:xfrm>
          <a:prstGeom prst="rect">
            <a:avLst/>
          </a:prstGeom>
        </p:spPr>
      </p:pic>
      <p:sp>
        <p:nvSpPr>
          <p:cNvPr id="27" name="Titel 1">
            <a:extLst>
              <a:ext uri="{FF2B5EF4-FFF2-40B4-BE49-F238E27FC236}">
                <a16:creationId xmlns:a16="http://schemas.microsoft.com/office/drawing/2014/main" id="{37155686-58FC-A144-90EC-2DDF93FAB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338" y="456696"/>
            <a:ext cx="5792883" cy="1555200"/>
          </a:xfrm>
        </p:spPr>
        <p:txBody>
          <a:bodyPr anchor="b" anchorCtr="0">
            <a:noAutofit/>
          </a:bodyPr>
          <a:lstStyle>
            <a:lvl1pPr indent="0" algn="l">
              <a:lnSpc>
                <a:spcPts val="4050"/>
              </a:lnSpc>
              <a:defRPr sz="405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28" name="Ondertitel 2">
            <a:extLst>
              <a:ext uri="{FF2B5EF4-FFF2-40B4-BE49-F238E27FC236}">
                <a16:creationId xmlns:a16="http://schemas.microsoft.com/office/drawing/2014/main" id="{2AEA6679-13F6-284A-A5CC-7A879725C6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5336" y="2231136"/>
            <a:ext cx="4737100" cy="1773936"/>
          </a:xfrm>
          <a:prstGeom prst="rect">
            <a:avLst/>
          </a:prstGeom>
        </p:spPr>
        <p:txBody>
          <a:bodyPr bIns="0" numCol="2" spcCol="720000">
            <a:noAutofit/>
          </a:bodyPr>
          <a:lstStyle>
            <a:lvl1pPr marL="0" indent="0" algn="l">
              <a:lnSpc>
                <a:spcPct val="120000"/>
              </a:lnSpc>
              <a:buNone/>
              <a:defRPr sz="1200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353423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2" hasCustomPrompt="1"/>
          </p:nvPr>
        </p:nvSpPr>
        <p:spPr>
          <a:xfrm>
            <a:off x="287999" y="0"/>
            <a:ext cx="8856000" cy="5143500"/>
          </a:xfrm>
        </p:spPr>
        <p:txBody>
          <a:bodyPr/>
          <a:lstStyle>
            <a:lvl1pPr algn="ctr">
              <a:buNone/>
              <a:defRPr>
                <a:solidFill>
                  <a:srgbClr val="FF0000"/>
                </a:solidFill>
                <a:latin typeface="FlandersArtSans-Regular" panose="00000500000000000000" pitchFamily="2" charset="0"/>
              </a:defRPr>
            </a:lvl1pPr>
          </a:lstStyle>
          <a:p>
            <a:r>
              <a:rPr lang="fr-FR" err="1"/>
              <a:t>Sleep</a:t>
            </a:r>
            <a:r>
              <a:rPr lang="fr-FR"/>
              <a:t> de </a:t>
            </a:r>
            <a:r>
              <a:rPr lang="fr-FR" err="1"/>
              <a:t>afbeelding</a:t>
            </a:r>
            <a:r>
              <a:rPr lang="fr-FR"/>
              <a:t> </a:t>
            </a:r>
            <a:r>
              <a:rPr lang="fr-FR" err="1"/>
              <a:t>naar</a:t>
            </a:r>
            <a:r>
              <a:rPr lang="fr-FR"/>
              <a:t> de </a:t>
            </a:r>
            <a:r>
              <a:rPr lang="fr-FR" err="1"/>
              <a:t>tijdelijke</a:t>
            </a:r>
            <a:r>
              <a:rPr lang="fr-FR"/>
              <a:t> </a:t>
            </a:r>
            <a:r>
              <a:rPr lang="fr-FR" err="1"/>
              <a:t>aanduiding</a:t>
            </a:r>
            <a:r>
              <a:rPr lang="fr-FR"/>
              <a:t> of </a:t>
            </a:r>
            <a:r>
              <a:rPr lang="fr-FR" err="1"/>
              <a:t>klik</a:t>
            </a:r>
            <a:r>
              <a:rPr lang="fr-FR"/>
              <a:t> op </a:t>
            </a:r>
            <a:r>
              <a:rPr lang="fr-FR" err="1"/>
              <a:t>het</a:t>
            </a:r>
            <a:r>
              <a:rPr lang="fr-FR"/>
              <a:t> </a:t>
            </a:r>
            <a:r>
              <a:rPr lang="fr-FR" err="1"/>
              <a:t>pictogram</a:t>
            </a:r>
            <a:r>
              <a:rPr lang="fr-FR"/>
              <a:t> </a:t>
            </a:r>
            <a:br>
              <a:rPr lang="fr-FR"/>
            </a:br>
            <a:r>
              <a:rPr lang="fr-FR" err="1"/>
              <a:t>als</a:t>
            </a:r>
            <a:r>
              <a:rPr lang="fr-FR"/>
              <a:t> u </a:t>
            </a:r>
            <a:r>
              <a:rPr lang="fr-FR" err="1"/>
              <a:t>een</a:t>
            </a:r>
            <a:r>
              <a:rPr lang="fr-FR"/>
              <a:t> </a:t>
            </a:r>
            <a:r>
              <a:rPr lang="fr-FR" err="1"/>
              <a:t>afbeelding</a:t>
            </a:r>
            <a:r>
              <a:rPr lang="fr-FR"/>
              <a:t> </a:t>
            </a:r>
            <a:r>
              <a:rPr lang="fr-FR" err="1"/>
              <a:t>wilt</a:t>
            </a:r>
            <a:r>
              <a:rPr lang="fr-FR"/>
              <a:t> </a:t>
            </a:r>
            <a:r>
              <a:rPr lang="fr-FR" err="1"/>
              <a:t>toevoegen</a:t>
            </a:r>
            <a:endParaRPr lang="nl-B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96001" y="1517400"/>
            <a:ext cx="3108049" cy="1555200"/>
          </a:xfrm>
        </p:spPr>
        <p:txBody>
          <a:bodyPr anchor="b" anchorCtr="0">
            <a:noAutofit/>
          </a:bodyPr>
          <a:lstStyle>
            <a:lvl1pPr indent="0" algn="l">
              <a:lnSpc>
                <a:spcPts val="4050"/>
              </a:lnSpc>
              <a:defRPr sz="40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296000" y="3115800"/>
            <a:ext cx="7416000" cy="1242000"/>
          </a:xfrm>
        </p:spPr>
        <p:txBody>
          <a:bodyPr bIns="0">
            <a:noAutofit/>
          </a:bodyPr>
          <a:lstStyle>
            <a:lvl1pPr marL="0" indent="0" algn="l">
              <a:lnSpc>
                <a:spcPts val="1320"/>
              </a:lnSpc>
              <a:buNone/>
              <a:defRPr sz="1200">
                <a:solidFill>
                  <a:schemeClr val="bg1"/>
                </a:solidFill>
                <a:latin typeface="FlandersArtSans-Regular" panose="00000500000000000000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ken om de ondertitelstijl van het model te bewerken</a:t>
            </a:r>
            <a:endParaRPr lang="nl-BE"/>
          </a:p>
        </p:txBody>
      </p:sp>
      <p:sp>
        <p:nvSpPr>
          <p:cNvPr id="10" name="Tijdelijke aanduiding voor dianummer 6"/>
          <p:cNvSpPr>
            <a:spLocks noGrp="1"/>
          </p:cNvSpPr>
          <p:nvPr>
            <p:ph type="sldNum" sz="quarter" idx="13"/>
          </p:nvPr>
        </p:nvSpPr>
        <p:spPr>
          <a:xfrm>
            <a:off x="6876015" y="4752000"/>
            <a:ext cx="2141621" cy="273844"/>
          </a:xfrm>
        </p:spPr>
        <p:txBody>
          <a:bodyPr/>
          <a:lstStyle>
            <a:lvl1pPr>
              <a:defRPr sz="675">
                <a:latin typeface="FlandersArtSans-Regular" panose="00000500000000000000" pitchFamily="2" charset="0"/>
              </a:defRPr>
            </a:lvl1pPr>
          </a:lstStyle>
          <a:p>
            <a:fld id="{7749CDD0-7D77-4D23-9A27-F361E39BA472}" type="datetime1">
              <a:rPr lang="nl-BE" smtClean="0"/>
              <a:pPr/>
              <a:t>8/07/2024</a:t>
            </a:fld>
            <a:r>
              <a:rPr lang="nl-BE"/>
              <a:t> </a:t>
            </a:r>
            <a:r>
              <a:rPr lang="nl-BE" b="1"/>
              <a:t>│</a:t>
            </a:r>
            <a:fld id="{B263F6C6-2226-4286-8995-C42CB1E7C290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8" name="Rechthoek 7"/>
          <p:cNvSpPr/>
          <p:nvPr userDrawn="1"/>
        </p:nvSpPr>
        <p:spPr>
          <a:xfrm>
            <a:off x="1" y="0"/>
            <a:ext cx="282207" cy="5143500"/>
          </a:xfrm>
          <a:prstGeom prst="rect">
            <a:avLst/>
          </a:prstGeom>
          <a:solidFill>
            <a:srgbClr val="D26E25"/>
          </a:solidFill>
          <a:ln>
            <a:solidFill>
              <a:srgbClr val="D26E2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>
              <a:latin typeface="FlandersArtSans-Regular" panose="00000500000000000000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5C6574A-8BC2-0815-E22A-15DD95A3CD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6942" y="4544299"/>
            <a:ext cx="759058" cy="35771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064B964-B188-2773-EBCA-04D26360D4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65005" y="216000"/>
            <a:ext cx="1821067" cy="70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9400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ee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EBB1CAE6-A8C9-17B3-C553-8DBB3732797A}"/>
              </a:ext>
            </a:extLst>
          </p:cNvPr>
          <p:cNvSpPr/>
          <p:nvPr userDrawn="1"/>
        </p:nvSpPr>
        <p:spPr>
          <a:xfrm>
            <a:off x="4638060" y="-1"/>
            <a:ext cx="4505940" cy="5143501"/>
          </a:xfrm>
          <a:custGeom>
            <a:avLst/>
            <a:gdLst>
              <a:gd name="connsiteX0" fmla="*/ 2950209 w 4505940"/>
              <a:gd name="connsiteY0" fmla="*/ 0 h 5143501"/>
              <a:gd name="connsiteX1" fmla="*/ 4505940 w 4505940"/>
              <a:gd name="connsiteY1" fmla="*/ 0 h 5143501"/>
              <a:gd name="connsiteX2" fmla="*/ 4505940 w 4505940"/>
              <a:gd name="connsiteY2" fmla="*/ 5143501 h 5143501"/>
              <a:gd name="connsiteX3" fmla="*/ 0 w 4505940"/>
              <a:gd name="connsiteY3" fmla="*/ 514350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5940" h="5143501">
                <a:moveTo>
                  <a:pt x="2950209" y="0"/>
                </a:moveTo>
                <a:lnTo>
                  <a:pt x="4505940" y="0"/>
                </a:lnTo>
                <a:lnTo>
                  <a:pt x="4505940" y="5143501"/>
                </a:lnTo>
                <a:lnTo>
                  <a:pt x="0" y="514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6E5EB4-A172-1567-5F88-0AF46D1061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23454" y="1899915"/>
            <a:ext cx="2245313" cy="2248120"/>
          </a:xfrm>
          <a:prstGeom prst="rect">
            <a:avLst/>
          </a:prstGeom>
        </p:spPr>
      </p:pic>
      <p:sp>
        <p:nvSpPr>
          <p:cNvPr id="27" name="Titel 1">
            <a:extLst>
              <a:ext uri="{FF2B5EF4-FFF2-40B4-BE49-F238E27FC236}">
                <a16:creationId xmlns:a16="http://schemas.microsoft.com/office/drawing/2014/main" id="{37155686-58FC-A144-90EC-2DDF93FAB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338" y="456696"/>
            <a:ext cx="5792883" cy="1555200"/>
          </a:xfrm>
        </p:spPr>
        <p:txBody>
          <a:bodyPr anchor="b" anchorCtr="0">
            <a:noAutofit/>
          </a:bodyPr>
          <a:lstStyle>
            <a:lvl1pPr indent="0" algn="l">
              <a:lnSpc>
                <a:spcPts val="4050"/>
              </a:lnSpc>
              <a:defRPr sz="4050">
                <a:solidFill>
                  <a:srgbClr val="F0A20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28" name="Ondertitel 2">
            <a:extLst>
              <a:ext uri="{FF2B5EF4-FFF2-40B4-BE49-F238E27FC236}">
                <a16:creationId xmlns:a16="http://schemas.microsoft.com/office/drawing/2014/main" id="{2AEA6679-13F6-284A-A5CC-7A879725C6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5337" y="2231136"/>
            <a:ext cx="4774046" cy="1773936"/>
          </a:xfrm>
          <a:prstGeom prst="rect">
            <a:avLst/>
          </a:prstGeom>
        </p:spPr>
        <p:txBody>
          <a:bodyPr bIns="0" numCol="2" spcCol="720000">
            <a:noAutofit/>
          </a:bodyPr>
          <a:lstStyle>
            <a:lvl1pPr marL="0" indent="0" algn="l">
              <a:lnSpc>
                <a:spcPct val="120000"/>
              </a:lnSpc>
              <a:buNone/>
              <a:defRPr sz="1200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03078974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rui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6CE81A17-C6A1-9BE4-04AF-C95D144E0F96}"/>
              </a:ext>
            </a:extLst>
          </p:cNvPr>
          <p:cNvSpPr/>
          <p:nvPr userDrawn="1"/>
        </p:nvSpPr>
        <p:spPr>
          <a:xfrm>
            <a:off x="4638060" y="-1"/>
            <a:ext cx="4505940" cy="5143501"/>
          </a:xfrm>
          <a:custGeom>
            <a:avLst/>
            <a:gdLst>
              <a:gd name="connsiteX0" fmla="*/ 2950209 w 4505940"/>
              <a:gd name="connsiteY0" fmla="*/ 0 h 5143501"/>
              <a:gd name="connsiteX1" fmla="*/ 4505940 w 4505940"/>
              <a:gd name="connsiteY1" fmla="*/ 0 h 5143501"/>
              <a:gd name="connsiteX2" fmla="*/ 4505940 w 4505940"/>
              <a:gd name="connsiteY2" fmla="*/ 5143501 h 5143501"/>
              <a:gd name="connsiteX3" fmla="*/ 0 w 4505940"/>
              <a:gd name="connsiteY3" fmla="*/ 514350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05940" h="5143501">
                <a:moveTo>
                  <a:pt x="2950209" y="0"/>
                </a:moveTo>
                <a:lnTo>
                  <a:pt x="4505940" y="0"/>
                </a:lnTo>
                <a:lnTo>
                  <a:pt x="4505940" y="5143501"/>
                </a:lnTo>
                <a:lnTo>
                  <a:pt x="0" y="514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37155686-58FC-A144-90EC-2DDF93FAB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337" y="456696"/>
            <a:ext cx="5669972" cy="1555200"/>
          </a:xfrm>
        </p:spPr>
        <p:txBody>
          <a:bodyPr anchor="b" anchorCtr="0">
            <a:noAutofit/>
          </a:bodyPr>
          <a:lstStyle>
            <a:lvl1pPr indent="0" algn="l">
              <a:lnSpc>
                <a:spcPts val="4050"/>
              </a:lnSpc>
              <a:defRPr sz="4050">
                <a:solidFill>
                  <a:schemeClr val="accent6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28" name="Ondertitel 2">
            <a:extLst>
              <a:ext uri="{FF2B5EF4-FFF2-40B4-BE49-F238E27FC236}">
                <a16:creationId xmlns:a16="http://schemas.microsoft.com/office/drawing/2014/main" id="{2AEA6679-13F6-284A-A5CC-7A879725C6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5337" y="2231136"/>
            <a:ext cx="4746337" cy="1773936"/>
          </a:xfrm>
          <a:prstGeom prst="rect">
            <a:avLst/>
          </a:prstGeom>
        </p:spPr>
        <p:txBody>
          <a:bodyPr bIns="0" numCol="2" spcCol="720000">
            <a:noAutofit/>
          </a:bodyPr>
          <a:lstStyle>
            <a:lvl1pPr marL="0" indent="0" algn="l">
              <a:lnSpc>
                <a:spcPct val="120000"/>
              </a:lnSpc>
              <a:buNone/>
              <a:defRPr sz="1200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78E6D4B-11B6-5570-EA0E-E473493C3E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23454" y="1899914"/>
            <a:ext cx="2245313" cy="224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55939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oo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61DC00D7-8FA6-EA4F-A570-60419B684444}"/>
              </a:ext>
            </a:extLst>
          </p:cNvPr>
          <p:cNvSpPr/>
          <p:nvPr userDrawn="1"/>
        </p:nvSpPr>
        <p:spPr>
          <a:xfrm flipH="1" flipV="1">
            <a:off x="-2" y="-1"/>
            <a:ext cx="9143997" cy="1947414"/>
          </a:xfrm>
          <a:custGeom>
            <a:avLst/>
            <a:gdLst>
              <a:gd name="connsiteX0" fmla="*/ 9143999 w 9143999"/>
              <a:gd name="connsiteY0" fmla="*/ 2591213 h 2591213"/>
              <a:gd name="connsiteX1" fmla="*/ 0 w 9143999"/>
              <a:gd name="connsiteY1" fmla="*/ 2591213 h 2591213"/>
              <a:gd name="connsiteX2" fmla="*/ 0 w 9143999"/>
              <a:gd name="connsiteY2" fmla="*/ 2083213 h 2591213"/>
              <a:gd name="connsiteX3" fmla="*/ 0 w 9143999"/>
              <a:gd name="connsiteY3" fmla="*/ 1309179 h 2591213"/>
              <a:gd name="connsiteX4" fmla="*/ 0 w 9143999"/>
              <a:gd name="connsiteY4" fmla="*/ 1301051 h 2591213"/>
              <a:gd name="connsiteX5" fmla="*/ 0 w 9143999"/>
              <a:gd name="connsiteY5" fmla="*/ 801179 h 2591213"/>
              <a:gd name="connsiteX6" fmla="*/ 0 w 9143999"/>
              <a:gd name="connsiteY6" fmla="*/ 793051 h 2591213"/>
              <a:gd name="connsiteX7" fmla="*/ 92766 w 9143999"/>
              <a:gd name="connsiteY7" fmla="*/ 793051 h 2591213"/>
              <a:gd name="connsiteX8" fmla="*/ 9143998 w 9143999"/>
              <a:gd name="connsiteY8" fmla="*/ 0 h 2591213"/>
              <a:gd name="connsiteX9" fmla="*/ 9143998 w 9143999"/>
              <a:gd name="connsiteY9" fmla="*/ 508000 h 2591213"/>
              <a:gd name="connsiteX10" fmla="*/ 9143998 w 9143999"/>
              <a:gd name="connsiteY10" fmla="*/ 793051 h 2591213"/>
              <a:gd name="connsiteX11" fmla="*/ 9143999 w 9143999"/>
              <a:gd name="connsiteY11" fmla="*/ 793051 h 2591213"/>
              <a:gd name="connsiteX12" fmla="*/ 9143999 w 9143999"/>
              <a:gd name="connsiteY12" fmla="*/ 1301051 h 2591213"/>
              <a:gd name="connsiteX13" fmla="*/ 9143999 w 9143999"/>
              <a:gd name="connsiteY13" fmla="*/ 2083213 h 2591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143999" h="2591213">
                <a:moveTo>
                  <a:pt x="9143999" y="2591213"/>
                </a:moveTo>
                <a:lnTo>
                  <a:pt x="0" y="2591213"/>
                </a:lnTo>
                <a:lnTo>
                  <a:pt x="0" y="2083213"/>
                </a:lnTo>
                <a:lnTo>
                  <a:pt x="0" y="1309179"/>
                </a:lnTo>
                <a:lnTo>
                  <a:pt x="0" y="1301051"/>
                </a:lnTo>
                <a:lnTo>
                  <a:pt x="0" y="801179"/>
                </a:lnTo>
                <a:lnTo>
                  <a:pt x="0" y="793051"/>
                </a:lnTo>
                <a:lnTo>
                  <a:pt x="92766" y="793051"/>
                </a:lnTo>
                <a:lnTo>
                  <a:pt x="9143998" y="0"/>
                </a:lnTo>
                <a:lnTo>
                  <a:pt x="9143998" y="508000"/>
                </a:lnTo>
                <a:lnTo>
                  <a:pt x="9143998" y="793051"/>
                </a:lnTo>
                <a:lnTo>
                  <a:pt x="9143999" y="793051"/>
                </a:lnTo>
                <a:lnTo>
                  <a:pt x="9143999" y="1301051"/>
                </a:lnTo>
                <a:lnTo>
                  <a:pt x="9143999" y="208321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350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37155686-58FC-A144-90EC-2DDF93FAB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338" y="466344"/>
            <a:ext cx="6445827" cy="1408176"/>
          </a:xfrm>
        </p:spPr>
        <p:txBody>
          <a:bodyPr anchor="b" anchorCtr="0">
            <a:noAutofit/>
          </a:bodyPr>
          <a:lstStyle>
            <a:lvl1pPr indent="0" algn="l">
              <a:lnSpc>
                <a:spcPts val="2850"/>
              </a:lnSpc>
              <a:defRPr sz="2780">
                <a:solidFill>
                  <a:srgbClr val="E6331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28" name="Ondertitel 2">
            <a:extLst>
              <a:ext uri="{FF2B5EF4-FFF2-40B4-BE49-F238E27FC236}">
                <a16:creationId xmlns:a16="http://schemas.microsoft.com/office/drawing/2014/main" id="{2AEA6679-13F6-284A-A5CC-7A879725C6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5336" y="2624328"/>
            <a:ext cx="7920000" cy="1380744"/>
          </a:xfrm>
          <a:prstGeom prst="rect">
            <a:avLst/>
          </a:prstGeom>
        </p:spPr>
        <p:txBody>
          <a:bodyPr bIns="0" numCol="3" spcCol="720000">
            <a:noAutofit/>
          </a:bodyPr>
          <a:lstStyle>
            <a:lvl1pPr marL="0" indent="0" algn="l">
              <a:lnSpc>
                <a:spcPct val="120000"/>
              </a:lnSpc>
              <a:buNone/>
              <a:defRPr sz="1200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5D68C1-71BA-4BEC-9C79-749D12DA8E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53141" y="147932"/>
            <a:ext cx="1087575" cy="1088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735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roo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61DC00D7-8FA6-EA4F-A570-60419B684444}"/>
              </a:ext>
            </a:extLst>
          </p:cNvPr>
          <p:cNvSpPr/>
          <p:nvPr userDrawn="1"/>
        </p:nvSpPr>
        <p:spPr>
          <a:xfrm flipH="1" flipV="1">
            <a:off x="-2" y="-1"/>
            <a:ext cx="9143997" cy="2463130"/>
          </a:xfrm>
          <a:custGeom>
            <a:avLst/>
            <a:gdLst>
              <a:gd name="connsiteX0" fmla="*/ 9143999 w 9143999"/>
              <a:gd name="connsiteY0" fmla="*/ 2591213 h 2591213"/>
              <a:gd name="connsiteX1" fmla="*/ 0 w 9143999"/>
              <a:gd name="connsiteY1" fmla="*/ 2591213 h 2591213"/>
              <a:gd name="connsiteX2" fmla="*/ 0 w 9143999"/>
              <a:gd name="connsiteY2" fmla="*/ 2083213 h 2591213"/>
              <a:gd name="connsiteX3" fmla="*/ 0 w 9143999"/>
              <a:gd name="connsiteY3" fmla="*/ 1309179 h 2591213"/>
              <a:gd name="connsiteX4" fmla="*/ 0 w 9143999"/>
              <a:gd name="connsiteY4" fmla="*/ 1301051 h 2591213"/>
              <a:gd name="connsiteX5" fmla="*/ 0 w 9143999"/>
              <a:gd name="connsiteY5" fmla="*/ 801179 h 2591213"/>
              <a:gd name="connsiteX6" fmla="*/ 0 w 9143999"/>
              <a:gd name="connsiteY6" fmla="*/ 793051 h 2591213"/>
              <a:gd name="connsiteX7" fmla="*/ 92766 w 9143999"/>
              <a:gd name="connsiteY7" fmla="*/ 793051 h 2591213"/>
              <a:gd name="connsiteX8" fmla="*/ 9143998 w 9143999"/>
              <a:gd name="connsiteY8" fmla="*/ 0 h 2591213"/>
              <a:gd name="connsiteX9" fmla="*/ 9143998 w 9143999"/>
              <a:gd name="connsiteY9" fmla="*/ 508000 h 2591213"/>
              <a:gd name="connsiteX10" fmla="*/ 9143998 w 9143999"/>
              <a:gd name="connsiteY10" fmla="*/ 793051 h 2591213"/>
              <a:gd name="connsiteX11" fmla="*/ 9143999 w 9143999"/>
              <a:gd name="connsiteY11" fmla="*/ 793051 h 2591213"/>
              <a:gd name="connsiteX12" fmla="*/ 9143999 w 9143999"/>
              <a:gd name="connsiteY12" fmla="*/ 1301051 h 2591213"/>
              <a:gd name="connsiteX13" fmla="*/ 9143999 w 9143999"/>
              <a:gd name="connsiteY13" fmla="*/ 2083213 h 2591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143999" h="2591213">
                <a:moveTo>
                  <a:pt x="9143999" y="2591213"/>
                </a:moveTo>
                <a:lnTo>
                  <a:pt x="0" y="2591213"/>
                </a:lnTo>
                <a:lnTo>
                  <a:pt x="0" y="2083213"/>
                </a:lnTo>
                <a:lnTo>
                  <a:pt x="0" y="1309179"/>
                </a:lnTo>
                <a:lnTo>
                  <a:pt x="0" y="1301051"/>
                </a:lnTo>
                <a:lnTo>
                  <a:pt x="0" y="801179"/>
                </a:lnTo>
                <a:lnTo>
                  <a:pt x="0" y="793051"/>
                </a:lnTo>
                <a:lnTo>
                  <a:pt x="92766" y="793051"/>
                </a:lnTo>
                <a:lnTo>
                  <a:pt x="9143998" y="0"/>
                </a:lnTo>
                <a:lnTo>
                  <a:pt x="9143998" y="508000"/>
                </a:lnTo>
                <a:lnTo>
                  <a:pt x="9143998" y="793051"/>
                </a:lnTo>
                <a:lnTo>
                  <a:pt x="9143999" y="793051"/>
                </a:lnTo>
                <a:lnTo>
                  <a:pt x="9143999" y="1301051"/>
                </a:lnTo>
                <a:lnTo>
                  <a:pt x="9143999" y="208321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350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37155686-58FC-A144-90EC-2DDF93FAB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338" y="466344"/>
            <a:ext cx="6510481" cy="1408176"/>
          </a:xfrm>
        </p:spPr>
        <p:txBody>
          <a:bodyPr anchor="b" anchorCtr="0">
            <a:noAutofit/>
          </a:bodyPr>
          <a:lstStyle>
            <a:lvl1pPr indent="0" algn="l">
              <a:lnSpc>
                <a:spcPts val="2850"/>
              </a:lnSpc>
              <a:defRPr sz="2780">
                <a:solidFill>
                  <a:schemeClr val="accent5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28" name="Ondertitel 2">
            <a:extLst>
              <a:ext uri="{FF2B5EF4-FFF2-40B4-BE49-F238E27FC236}">
                <a16:creationId xmlns:a16="http://schemas.microsoft.com/office/drawing/2014/main" id="{2AEA6679-13F6-284A-A5CC-7A879725C6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5336" y="2624328"/>
            <a:ext cx="7920000" cy="1380744"/>
          </a:xfrm>
          <a:prstGeom prst="rect">
            <a:avLst/>
          </a:prstGeom>
        </p:spPr>
        <p:txBody>
          <a:bodyPr bIns="0" numCol="3" spcCol="720000">
            <a:noAutofit/>
          </a:bodyPr>
          <a:lstStyle>
            <a:lvl1pPr marL="0" indent="0" algn="l">
              <a:lnSpc>
                <a:spcPct val="120000"/>
              </a:lnSpc>
              <a:buNone/>
              <a:defRPr sz="1200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8BF188-90D1-7268-4482-EF7E4DA038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05122" y="252088"/>
            <a:ext cx="1197645" cy="1199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3634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roo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61DC00D7-8FA6-EA4F-A570-60419B684444}"/>
              </a:ext>
            </a:extLst>
          </p:cNvPr>
          <p:cNvSpPr/>
          <p:nvPr userDrawn="1"/>
        </p:nvSpPr>
        <p:spPr>
          <a:xfrm flipH="1" flipV="1">
            <a:off x="-2" y="-1"/>
            <a:ext cx="9143997" cy="2463130"/>
          </a:xfrm>
          <a:custGeom>
            <a:avLst/>
            <a:gdLst>
              <a:gd name="connsiteX0" fmla="*/ 9143999 w 9143999"/>
              <a:gd name="connsiteY0" fmla="*/ 2591213 h 2591213"/>
              <a:gd name="connsiteX1" fmla="*/ 0 w 9143999"/>
              <a:gd name="connsiteY1" fmla="*/ 2591213 h 2591213"/>
              <a:gd name="connsiteX2" fmla="*/ 0 w 9143999"/>
              <a:gd name="connsiteY2" fmla="*/ 2083213 h 2591213"/>
              <a:gd name="connsiteX3" fmla="*/ 0 w 9143999"/>
              <a:gd name="connsiteY3" fmla="*/ 1309179 h 2591213"/>
              <a:gd name="connsiteX4" fmla="*/ 0 w 9143999"/>
              <a:gd name="connsiteY4" fmla="*/ 1301051 h 2591213"/>
              <a:gd name="connsiteX5" fmla="*/ 0 w 9143999"/>
              <a:gd name="connsiteY5" fmla="*/ 801179 h 2591213"/>
              <a:gd name="connsiteX6" fmla="*/ 0 w 9143999"/>
              <a:gd name="connsiteY6" fmla="*/ 793051 h 2591213"/>
              <a:gd name="connsiteX7" fmla="*/ 92766 w 9143999"/>
              <a:gd name="connsiteY7" fmla="*/ 793051 h 2591213"/>
              <a:gd name="connsiteX8" fmla="*/ 9143998 w 9143999"/>
              <a:gd name="connsiteY8" fmla="*/ 0 h 2591213"/>
              <a:gd name="connsiteX9" fmla="*/ 9143998 w 9143999"/>
              <a:gd name="connsiteY9" fmla="*/ 508000 h 2591213"/>
              <a:gd name="connsiteX10" fmla="*/ 9143998 w 9143999"/>
              <a:gd name="connsiteY10" fmla="*/ 793051 h 2591213"/>
              <a:gd name="connsiteX11" fmla="*/ 9143999 w 9143999"/>
              <a:gd name="connsiteY11" fmla="*/ 793051 h 2591213"/>
              <a:gd name="connsiteX12" fmla="*/ 9143999 w 9143999"/>
              <a:gd name="connsiteY12" fmla="*/ 1301051 h 2591213"/>
              <a:gd name="connsiteX13" fmla="*/ 9143999 w 9143999"/>
              <a:gd name="connsiteY13" fmla="*/ 2083213 h 2591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143999" h="2591213">
                <a:moveTo>
                  <a:pt x="9143999" y="2591213"/>
                </a:moveTo>
                <a:lnTo>
                  <a:pt x="0" y="2591213"/>
                </a:lnTo>
                <a:lnTo>
                  <a:pt x="0" y="2083213"/>
                </a:lnTo>
                <a:lnTo>
                  <a:pt x="0" y="1309179"/>
                </a:lnTo>
                <a:lnTo>
                  <a:pt x="0" y="1301051"/>
                </a:lnTo>
                <a:lnTo>
                  <a:pt x="0" y="801179"/>
                </a:lnTo>
                <a:lnTo>
                  <a:pt x="0" y="793051"/>
                </a:lnTo>
                <a:lnTo>
                  <a:pt x="92766" y="793051"/>
                </a:lnTo>
                <a:lnTo>
                  <a:pt x="9143998" y="0"/>
                </a:lnTo>
                <a:lnTo>
                  <a:pt x="9143998" y="508000"/>
                </a:lnTo>
                <a:lnTo>
                  <a:pt x="9143998" y="793051"/>
                </a:lnTo>
                <a:lnTo>
                  <a:pt x="9143999" y="793051"/>
                </a:lnTo>
                <a:lnTo>
                  <a:pt x="9143999" y="1301051"/>
                </a:lnTo>
                <a:lnTo>
                  <a:pt x="9143999" y="208321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350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37155686-58FC-A144-90EC-2DDF93FAB1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337" y="466344"/>
            <a:ext cx="6630554" cy="1408176"/>
          </a:xfrm>
        </p:spPr>
        <p:txBody>
          <a:bodyPr anchor="b" anchorCtr="0">
            <a:noAutofit/>
          </a:bodyPr>
          <a:lstStyle>
            <a:lvl1pPr indent="0" algn="l">
              <a:lnSpc>
                <a:spcPts val="2850"/>
              </a:lnSpc>
              <a:defRPr sz="2780">
                <a:solidFill>
                  <a:schemeClr val="accent6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28" name="Ondertitel 2">
            <a:extLst>
              <a:ext uri="{FF2B5EF4-FFF2-40B4-BE49-F238E27FC236}">
                <a16:creationId xmlns:a16="http://schemas.microsoft.com/office/drawing/2014/main" id="{2AEA6679-13F6-284A-A5CC-7A879725C6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5336" y="2624328"/>
            <a:ext cx="7920000" cy="1380744"/>
          </a:xfrm>
          <a:prstGeom prst="rect">
            <a:avLst/>
          </a:prstGeom>
        </p:spPr>
        <p:txBody>
          <a:bodyPr bIns="0" numCol="3" spcCol="720000">
            <a:noAutofit/>
          </a:bodyPr>
          <a:lstStyle>
            <a:lvl1pPr marL="0" indent="0" algn="l">
              <a:lnSpc>
                <a:spcPct val="120000"/>
              </a:lnSpc>
              <a:buNone/>
              <a:defRPr sz="1200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nl-NL"/>
              <a:t>Klik om de ondertitelstijl van het model te bewerken</a:t>
            </a:r>
            <a:endParaRPr lang="nl-B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8BF188-90D1-7268-4482-EF7E4DA038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05121" y="252088"/>
            <a:ext cx="1197644" cy="1199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3555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5" y="1279252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2571750"/>
            <a:ext cx="7813675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52426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© 2020 Deloitte Belgium</a:t>
            </a:r>
          </a:p>
        </p:txBody>
      </p:sp>
    </p:spTree>
    <p:extLst>
      <p:ext uri="{BB962C8B-B14F-4D97-AF65-F5344CB8AC3E}">
        <p14:creationId xmlns:p14="http://schemas.microsoft.com/office/powerpoint/2010/main" val="2474365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279252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2571750"/>
            <a:ext cx="7813675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352426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© 2020 Deloitte Belgium</a:t>
            </a:r>
          </a:p>
        </p:txBody>
      </p:sp>
    </p:spTree>
    <p:extLst>
      <p:ext uri="{BB962C8B-B14F-4D97-AF65-F5344CB8AC3E}">
        <p14:creationId xmlns:p14="http://schemas.microsoft.com/office/powerpoint/2010/main" val="2346096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5" y="1279252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2571750"/>
            <a:ext cx="7813675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352426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© 2020 Deloitte Belgium</a:t>
            </a:r>
          </a:p>
        </p:txBody>
      </p:sp>
    </p:spTree>
    <p:extLst>
      <p:ext uri="{BB962C8B-B14F-4D97-AF65-F5344CB8AC3E}">
        <p14:creationId xmlns:p14="http://schemas.microsoft.com/office/powerpoint/2010/main" val="3016474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279252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2571750"/>
            <a:ext cx="7905750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5638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193007"/>
            <a:ext cx="6772203" cy="3531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52426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© 2020 Deloitte Belgium</a:t>
            </a:r>
          </a:p>
        </p:txBody>
      </p:sp>
    </p:spTree>
    <p:extLst>
      <p:ext uri="{BB962C8B-B14F-4D97-AF65-F5344CB8AC3E}">
        <p14:creationId xmlns:p14="http://schemas.microsoft.com/office/powerpoint/2010/main" val="6920978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96000" y="1512000"/>
            <a:ext cx="7416000" cy="1566000"/>
          </a:xfrm>
        </p:spPr>
        <p:txBody>
          <a:bodyPr anchor="b" anchorCtr="0">
            <a:noAutofit/>
          </a:bodyPr>
          <a:lstStyle>
            <a:lvl1pPr indent="0" algn="l">
              <a:lnSpc>
                <a:spcPts val="4050"/>
              </a:lnSpc>
              <a:defRPr sz="4050" b="0" i="0" baseline="0">
                <a:latin typeface="+mj-lt"/>
                <a:cs typeface="Calibri"/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296000" y="3105000"/>
            <a:ext cx="7416000" cy="1241822"/>
          </a:xfrm>
        </p:spPr>
        <p:txBody>
          <a:bodyPr bIns="0">
            <a:noAutofit/>
          </a:bodyPr>
          <a:lstStyle>
            <a:lvl1pPr marL="0" indent="0" algn="l">
              <a:lnSpc>
                <a:spcPts val="1320"/>
              </a:lnSpc>
              <a:buNone/>
              <a:defRPr sz="1185">
                <a:latin typeface="FlandersArtSans-Regular" panose="00000500000000000000" pitchFamily="2" charset="0"/>
                <a:cs typeface="Calibri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ken om de ondertitelstijl van het model te bewerken</a:t>
            </a:r>
            <a:endParaRPr lang="nl-BE"/>
          </a:p>
        </p:txBody>
      </p:sp>
      <p:sp>
        <p:nvSpPr>
          <p:cNvPr id="9" name="Tijdelijke aanduiding voor tekst 10"/>
          <p:cNvSpPr>
            <a:spLocks noGrp="1"/>
          </p:cNvSpPr>
          <p:nvPr>
            <p:ph type="body" sz="quarter" idx="15" hasCustomPrompt="1"/>
          </p:nvPr>
        </p:nvSpPr>
        <p:spPr>
          <a:xfrm>
            <a:off x="4426123" y="4771202"/>
            <a:ext cx="4435200" cy="264600"/>
          </a:xfrm>
        </p:spPr>
        <p:txBody>
          <a:bodyPr/>
          <a:lstStyle>
            <a:lvl1pPr marL="0" indent="0" algn="r">
              <a:buNone/>
              <a:defRPr sz="1275">
                <a:solidFill>
                  <a:schemeClr val="tx1"/>
                </a:solidFill>
                <a:latin typeface="FlandersArtSans-Regular" panose="00000500000000000000" pitchFamily="2" charset="0"/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8" name="Rechthoek 7"/>
          <p:cNvSpPr/>
          <p:nvPr userDrawn="1"/>
        </p:nvSpPr>
        <p:spPr>
          <a:xfrm>
            <a:off x="1" y="0"/>
            <a:ext cx="282207" cy="5143500"/>
          </a:xfrm>
          <a:prstGeom prst="rect">
            <a:avLst/>
          </a:prstGeom>
          <a:solidFill>
            <a:srgbClr val="D26E25"/>
          </a:solidFill>
          <a:ln>
            <a:solidFill>
              <a:srgbClr val="D26E2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>
              <a:latin typeface="FlandersArtSans-Regular" panose="00000500000000000000" pitchFamily="2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3E2F65E-F1F5-2E24-B295-5FE871491F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6942" y="4544299"/>
            <a:ext cx="759058" cy="35771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A2B4044-60EE-013E-C403-4E6D1FDB42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65005" y="216000"/>
            <a:ext cx="1821067" cy="70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33996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193007"/>
            <a:ext cx="6772203" cy="3531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52426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© 2020 Deloitte Belgium</a:t>
            </a:r>
          </a:p>
        </p:txBody>
      </p:sp>
    </p:spTree>
    <p:extLst>
      <p:ext uri="{BB962C8B-B14F-4D97-AF65-F5344CB8AC3E}">
        <p14:creationId xmlns:p14="http://schemas.microsoft.com/office/powerpoint/2010/main" val="183419733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193007"/>
            <a:ext cx="6772203" cy="3531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352426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© 2020 Deloitte Belgium</a:t>
            </a:r>
          </a:p>
        </p:txBody>
      </p:sp>
    </p:spTree>
    <p:extLst>
      <p:ext uri="{BB962C8B-B14F-4D97-AF65-F5344CB8AC3E}">
        <p14:creationId xmlns:p14="http://schemas.microsoft.com/office/powerpoint/2010/main" val="186992425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193007"/>
            <a:ext cx="6772203" cy="3531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52426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© 2020 Deloitte Belgium</a:t>
            </a:r>
          </a:p>
        </p:txBody>
      </p:sp>
    </p:spTree>
    <p:extLst>
      <p:ext uri="{BB962C8B-B14F-4D97-AF65-F5344CB8AC3E}">
        <p14:creationId xmlns:p14="http://schemas.microsoft.com/office/powerpoint/2010/main" val="413927724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5" y="1193007"/>
            <a:ext cx="6772203" cy="3531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6310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248968"/>
            <a:ext cx="7011590" cy="3475433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53255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5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9332452" y="4348"/>
            <a:ext cx="144018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450" b="0" i="0" baseline="0">
                <a:solidFill>
                  <a:schemeClr val="tx1"/>
                </a:solidFill>
              </a:defRPr>
            </a:lvl1pPr>
            <a:lvl2pPr marL="97111" marR="0" indent="-96441" algn="l" defTabSz="3850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450" baseline="0">
                <a:solidFill>
                  <a:schemeClr val="tx1"/>
                </a:solidFill>
              </a:defRPr>
            </a:lvl2pPr>
            <a:lvl3pPr>
              <a:defRPr sz="506"/>
            </a:lvl3pPr>
            <a:lvl4pPr>
              <a:defRPr sz="506"/>
            </a:lvl4pPr>
            <a:lvl5pPr>
              <a:defRPr sz="506"/>
            </a:lvl5pPr>
          </a:lstStyle>
          <a:p>
            <a:pPr lvl="0"/>
            <a:r>
              <a:rPr lang="en-US" noProof="0"/>
              <a:t>Use the Selection Pane (Alt+F10) to make the hidden shapes of the Agenda visible. Make sure you group them again after editing.</a:t>
            </a:r>
          </a:p>
          <a:p>
            <a:pPr lvl="0"/>
            <a:endParaRPr lang="en-US" noProof="0"/>
          </a:p>
          <a:p>
            <a:pPr lvl="0"/>
            <a:r>
              <a:rPr lang="en-US" noProof="0"/>
              <a:t>Expected groups are:</a:t>
            </a:r>
          </a:p>
          <a:p>
            <a:pPr lvl="0"/>
            <a:endParaRPr lang="en-US" noProof="0"/>
          </a:p>
          <a:p>
            <a:pPr lvl="1"/>
            <a:r>
              <a:rPr lang="en-US" noProof="0"/>
              <a:t>SP Agenda Section</a:t>
            </a:r>
          </a:p>
          <a:p>
            <a:pPr lvl="1"/>
            <a:r>
              <a:rPr lang="en-US" noProof="0"/>
              <a:t>SP Agenda Section Highlight</a:t>
            </a:r>
          </a:p>
          <a:p>
            <a:pPr lvl="1"/>
            <a:r>
              <a:rPr lang="en-US" noProof="0"/>
              <a:t>SP Agenda Subsection</a:t>
            </a:r>
          </a:p>
          <a:p>
            <a:pPr lvl="1"/>
            <a:r>
              <a:rPr lang="en-US" noProof="0"/>
              <a:t>SP Agenda Subsection Highlight</a:t>
            </a:r>
          </a:p>
          <a:p>
            <a:pPr lvl="0"/>
            <a:endParaRPr lang="en-US" noProof="0"/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endParaRPr lang="en-US" noProof="0"/>
          </a:p>
          <a:p>
            <a:pPr lvl="0"/>
            <a:r>
              <a:rPr lang="en-US" noProof="0"/>
              <a:t>Valid text placeholders are:</a:t>
            </a:r>
          </a:p>
          <a:p>
            <a:pPr lvl="0"/>
            <a:endParaRPr lang="en-US" noProof="0"/>
          </a:p>
          <a:p>
            <a:pPr lvl="1"/>
            <a:r>
              <a:rPr lang="en-US" noProof="0"/>
              <a:t>&lt;N&gt; for numb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endParaRPr lang="en-US" noProof="0"/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0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6" name="SP Agenda Section" hidden="1"/>
          <p:cNvGrpSpPr>
            <a:grpSpLocks/>
          </p:cNvGrpSpPr>
          <p:nvPr userDrawn="1"/>
        </p:nvGrpSpPr>
        <p:grpSpPr>
          <a:xfrm>
            <a:off x="393701" y="1275161"/>
            <a:ext cx="6754813" cy="147161"/>
            <a:chOff x="1748382" y="2085631"/>
            <a:chExt cx="8706556" cy="369332"/>
          </a:xfrm>
        </p:grpSpPr>
        <p:sp>
          <p:nvSpPr>
            <p:cNvPr id="8" name="Textbox" hidden="1"/>
            <p:cNvSpPr txBox="1">
              <a:spLocks/>
            </p:cNvSpPr>
            <p:nvPr userDrawn="1"/>
          </p:nvSpPr>
          <p:spPr>
            <a:xfrm>
              <a:off x="2217938" y="2085631"/>
              <a:ext cx="3843347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square" lIns="0" tIns="0" rIns="0" bIns="0" rtlCol="0" anchor="ctr">
              <a:normAutofit/>
            </a:bodyPr>
            <a:lstStyle/>
            <a:p>
              <a:pPr defTabSz="5250525">
                <a:tabLst>
                  <a:tab pos="5350535" algn="l"/>
                </a:tabLst>
              </a:pPr>
              <a:r>
                <a:rPr lang="en-US" sz="900" b="0"/>
                <a:t>&lt;TEXT&gt;</a:t>
              </a:r>
            </a:p>
          </p:txBody>
        </p:sp>
        <p:sp>
          <p:nvSpPr>
            <p:cNvPr id="9" name="Textbox" hidden="1"/>
            <p:cNvSpPr txBox="1">
              <a:spLocks/>
            </p:cNvSpPr>
            <p:nvPr userDrawn="1"/>
          </p:nvSpPr>
          <p:spPr>
            <a:xfrm>
              <a:off x="1748382" y="2085631"/>
              <a:ext cx="379556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US" sz="900" b="0"/>
                <a:t>&lt;N&gt;</a:t>
              </a:r>
            </a:p>
          </p:txBody>
        </p:sp>
        <p:sp>
          <p:nvSpPr>
            <p:cNvPr id="10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US" sz="900" b="0"/>
                <a:t>&lt;P&gt;</a:t>
              </a:r>
            </a:p>
          </p:txBody>
        </p:sp>
        <p:sp>
          <p:nvSpPr>
            <p:cNvPr id="11" name="Textbox" hidden="1"/>
            <p:cNvSpPr txBox="1">
              <a:spLocks/>
            </p:cNvSpPr>
            <p:nvPr userDrawn="1"/>
          </p:nvSpPr>
          <p:spPr>
            <a:xfrm>
              <a:off x="7646877" y="2085631"/>
              <a:ext cx="1257061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900" b="0"/>
                <a:t>&lt;TIMESLOT&gt;</a:t>
              </a:r>
            </a:p>
          </p:txBody>
        </p:sp>
        <p:sp>
          <p:nvSpPr>
            <p:cNvPr id="12" name="Textbox" hidden="1"/>
            <p:cNvSpPr txBox="1">
              <a:spLocks/>
            </p:cNvSpPr>
            <p:nvPr userDrawn="1"/>
          </p:nvSpPr>
          <p:spPr>
            <a:xfrm>
              <a:off x="6160048" y="2085631"/>
              <a:ext cx="1388067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900" b="0"/>
                <a:t>&lt;RESPONSIBLE&gt;</a:t>
              </a:r>
            </a:p>
          </p:txBody>
        </p:sp>
        <p:sp>
          <p:nvSpPr>
            <p:cNvPr id="13" name="Textbox" hidden="1"/>
            <p:cNvSpPr txBox="1">
              <a:spLocks/>
            </p:cNvSpPr>
            <p:nvPr userDrawn="1"/>
          </p:nvSpPr>
          <p:spPr>
            <a:xfrm>
              <a:off x="8993939" y="2085631"/>
              <a:ext cx="684723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900" b="0"/>
                <a:t>&lt;DURATION&gt;</a:t>
              </a:r>
            </a:p>
          </p:txBody>
        </p:sp>
      </p:grpSp>
      <p:grpSp>
        <p:nvGrpSpPr>
          <p:cNvPr id="42" name="SP Agenda Section Highlight" hidden="1"/>
          <p:cNvGrpSpPr>
            <a:grpSpLocks/>
          </p:cNvGrpSpPr>
          <p:nvPr userDrawn="1"/>
        </p:nvGrpSpPr>
        <p:grpSpPr>
          <a:xfrm>
            <a:off x="393701" y="1511381"/>
            <a:ext cx="6754813" cy="147161"/>
            <a:chOff x="1748382" y="2085631"/>
            <a:chExt cx="8706556" cy="369332"/>
          </a:xfrm>
        </p:grpSpPr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2217938" y="2085631"/>
              <a:ext cx="3843347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square" lIns="0" tIns="0" rIns="0" bIns="0" rtlCol="0" anchor="ctr">
              <a:normAutofit/>
            </a:bodyPr>
            <a:lstStyle/>
            <a:p>
              <a:pPr defTabSz="5250525">
                <a:tabLst>
                  <a:tab pos="5350535" algn="l"/>
                </a:tabLst>
              </a:pPr>
              <a:r>
                <a:rPr lang="en-US" sz="900" b="0"/>
                <a:t>&lt;TEXT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1748382" y="2085631"/>
              <a:ext cx="379556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US" sz="900" b="0"/>
                <a:t>&lt;N&gt;</a:t>
              </a:r>
            </a:p>
          </p:txBody>
        </p:sp>
        <p:sp>
          <p:nvSpPr>
            <p:cNvPr id="45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US" sz="900" b="0"/>
                <a:t>&lt;P&gt;</a:t>
              </a:r>
            </a:p>
          </p:txBody>
        </p:sp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7646877" y="2085631"/>
              <a:ext cx="1257061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900" b="0"/>
                <a:t>&lt;TIMESLO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6160048" y="2085631"/>
              <a:ext cx="1388067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900" b="0"/>
                <a:t>&lt;RESPONSIBLE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8993939" y="2085631"/>
              <a:ext cx="684723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900" b="0"/>
                <a:t>&lt;DURATION&gt;</a:t>
              </a:r>
            </a:p>
          </p:txBody>
        </p:sp>
      </p:grpSp>
      <p:grpSp>
        <p:nvGrpSpPr>
          <p:cNvPr id="49" name="SP Agenda Subsection" hidden="1"/>
          <p:cNvGrpSpPr>
            <a:grpSpLocks/>
          </p:cNvGrpSpPr>
          <p:nvPr userDrawn="1"/>
        </p:nvGrpSpPr>
        <p:grpSpPr>
          <a:xfrm>
            <a:off x="393701" y="1747601"/>
            <a:ext cx="6754813" cy="147161"/>
            <a:chOff x="1748382" y="2085631"/>
            <a:chExt cx="8706556" cy="369332"/>
          </a:xfrm>
        </p:grpSpPr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2217938" y="2085631"/>
              <a:ext cx="3843347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square" lIns="0" tIns="0" rIns="0" bIns="0" rtlCol="0" anchor="ctr">
              <a:normAutofit/>
            </a:bodyPr>
            <a:lstStyle/>
            <a:p>
              <a:pPr marL="128588" indent="-128588" defTabSz="5250525">
                <a:buFont typeface="Arial" panose="020B0604020202020204" pitchFamily="34" charset="0"/>
                <a:buChar char="•"/>
                <a:tabLst>
                  <a:tab pos="5350535" algn="l"/>
                </a:tabLst>
              </a:pPr>
              <a:r>
                <a:rPr lang="en-US" sz="900" b="0"/>
                <a:t>&lt;TEXT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1748382" y="2085631"/>
              <a:ext cx="379556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US" sz="900" b="0"/>
                <a:t>&lt;N&gt;</a:t>
              </a:r>
            </a:p>
          </p:txBody>
        </p:sp>
        <p:sp>
          <p:nvSpPr>
            <p:cNvPr id="5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US" sz="900" b="0"/>
                <a:t>&lt;P&gt;</a:t>
              </a:r>
            </a:p>
          </p:txBody>
        </p:sp>
        <p:sp>
          <p:nvSpPr>
            <p:cNvPr id="53" name="Textbox" hidden="1"/>
            <p:cNvSpPr txBox="1">
              <a:spLocks/>
            </p:cNvSpPr>
            <p:nvPr userDrawn="1"/>
          </p:nvSpPr>
          <p:spPr>
            <a:xfrm>
              <a:off x="7646877" y="2085631"/>
              <a:ext cx="1257061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900" b="0"/>
                <a:t>&lt;TIMESLOT&gt;</a:t>
              </a:r>
            </a:p>
          </p:txBody>
        </p:sp>
        <p:sp>
          <p:nvSpPr>
            <p:cNvPr id="54" name="Textbox" hidden="1"/>
            <p:cNvSpPr txBox="1">
              <a:spLocks/>
            </p:cNvSpPr>
            <p:nvPr userDrawn="1"/>
          </p:nvSpPr>
          <p:spPr>
            <a:xfrm>
              <a:off x="6160048" y="2085631"/>
              <a:ext cx="1388067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900" b="0"/>
                <a:t>&lt;RESPONSIBLE&gt;</a:t>
              </a:r>
            </a:p>
          </p:txBody>
        </p:sp>
        <p:sp>
          <p:nvSpPr>
            <p:cNvPr id="55" name="Textbox" hidden="1"/>
            <p:cNvSpPr txBox="1">
              <a:spLocks/>
            </p:cNvSpPr>
            <p:nvPr userDrawn="1"/>
          </p:nvSpPr>
          <p:spPr>
            <a:xfrm>
              <a:off x="8993939" y="2085631"/>
              <a:ext cx="684723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900" b="0"/>
                <a:t>&lt;DURATION&gt;</a:t>
              </a:r>
            </a:p>
          </p:txBody>
        </p:sp>
      </p:grpSp>
      <p:grpSp>
        <p:nvGrpSpPr>
          <p:cNvPr id="56" name="SP Agenda Subsection Highlight" hidden="1"/>
          <p:cNvGrpSpPr/>
          <p:nvPr userDrawn="1"/>
        </p:nvGrpSpPr>
        <p:grpSpPr>
          <a:xfrm>
            <a:off x="393701" y="1983821"/>
            <a:ext cx="6754813" cy="147161"/>
            <a:chOff x="1748382" y="2085631"/>
            <a:chExt cx="8706556" cy="369332"/>
          </a:xfrm>
        </p:grpSpPr>
        <p:sp>
          <p:nvSpPr>
            <p:cNvPr id="57" name="Textbox" hidden="1"/>
            <p:cNvSpPr txBox="1">
              <a:spLocks/>
            </p:cNvSpPr>
            <p:nvPr userDrawn="1"/>
          </p:nvSpPr>
          <p:spPr>
            <a:xfrm>
              <a:off x="2217938" y="2085631"/>
              <a:ext cx="3843347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square" lIns="0" tIns="0" rIns="0" bIns="0" rtlCol="0" anchor="ctr">
              <a:normAutofit/>
            </a:bodyPr>
            <a:lstStyle/>
            <a:p>
              <a:pPr marL="128588" indent="-128588" defTabSz="5250525">
                <a:buFont typeface="Arial" panose="020B0604020202020204" pitchFamily="34" charset="0"/>
                <a:buChar char="•"/>
                <a:tabLst>
                  <a:tab pos="5350535" algn="l"/>
                </a:tabLst>
              </a:pPr>
              <a:r>
                <a:rPr lang="en-US" sz="900" b="0"/>
                <a:t>&lt;TEXT&gt;</a:t>
              </a:r>
            </a:p>
          </p:txBody>
        </p:sp>
        <p:sp>
          <p:nvSpPr>
            <p:cNvPr id="58" name="Textbox" hidden="1"/>
            <p:cNvSpPr txBox="1">
              <a:spLocks/>
            </p:cNvSpPr>
            <p:nvPr userDrawn="1"/>
          </p:nvSpPr>
          <p:spPr>
            <a:xfrm>
              <a:off x="1748382" y="2085631"/>
              <a:ext cx="379556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US" sz="900" b="0"/>
                <a:t>&lt;N&gt;</a:t>
              </a:r>
            </a:p>
          </p:txBody>
        </p:sp>
        <p:sp>
          <p:nvSpPr>
            <p:cNvPr id="59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US" sz="900" b="0"/>
                <a:t>&lt;P&gt;</a:t>
              </a:r>
            </a:p>
          </p:txBody>
        </p:sp>
        <p:sp>
          <p:nvSpPr>
            <p:cNvPr id="60" name="Textbox" hidden="1"/>
            <p:cNvSpPr txBox="1">
              <a:spLocks/>
            </p:cNvSpPr>
            <p:nvPr userDrawn="1"/>
          </p:nvSpPr>
          <p:spPr>
            <a:xfrm>
              <a:off x="7646877" y="2085631"/>
              <a:ext cx="1257061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900" b="0"/>
                <a:t>&lt;TIMESLOT&gt;</a:t>
              </a:r>
            </a:p>
          </p:txBody>
        </p:sp>
        <p:sp>
          <p:nvSpPr>
            <p:cNvPr id="61" name="Textbox" hidden="1"/>
            <p:cNvSpPr txBox="1">
              <a:spLocks/>
            </p:cNvSpPr>
            <p:nvPr userDrawn="1"/>
          </p:nvSpPr>
          <p:spPr>
            <a:xfrm>
              <a:off x="6160048" y="2085631"/>
              <a:ext cx="1388067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900" b="0"/>
                <a:t>&lt;RESPONSIBLE&gt;</a:t>
              </a:r>
            </a:p>
          </p:txBody>
        </p:sp>
        <p:sp>
          <p:nvSpPr>
            <p:cNvPr id="62" name="Textbox" hidden="1"/>
            <p:cNvSpPr txBox="1">
              <a:spLocks/>
            </p:cNvSpPr>
            <p:nvPr userDrawn="1"/>
          </p:nvSpPr>
          <p:spPr>
            <a:xfrm>
              <a:off x="8993939" y="2085631"/>
              <a:ext cx="684723" cy="369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lumMod val="100000"/>
                    </a:schemeClr>
                  </a:solidFill>
                </a14:hiddenFill>
              </a:ext>
            </a:extLst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US" sz="900" b="0"/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063342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 Agenda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 userDrawn="1"/>
        </p:nvSpPr>
        <p:spPr>
          <a:xfrm>
            <a:off x="352426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© 2020 Deloitte Belgium</a:t>
            </a:r>
          </a:p>
        </p:txBody>
      </p:sp>
      <p:grpSp>
        <p:nvGrpSpPr>
          <p:cNvPr id="38" name="SP Agenda Section" hidden="1">
            <a:extLst>
              <a:ext uri="{FF2B5EF4-FFF2-40B4-BE49-F238E27FC236}">
                <a16:creationId xmlns:a16="http://schemas.microsoft.com/office/drawing/2014/main" id="{B1E6CA51-E8BA-4F2A-8D82-7EEFBC69C9B9}"/>
              </a:ext>
            </a:extLst>
          </p:cNvPr>
          <p:cNvGrpSpPr>
            <a:grpSpLocks/>
          </p:cNvGrpSpPr>
          <p:nvPr userDrawn="1"/>
        </p:nvGrpSpPr>
        <p:grpSpPr>
          <a:xfrm>
            <a:off x="9432706" y="2473554"/>
            <a:ext cx="6492956" cy="0"/>
            <a:chOff x="9432706" y="3882812"/>
            <a:chExt cx="6492956" cy="0"/>
          </a:xfrm>
        </p:grpSpPr>
        <p:sp>
          <p:nvSpPr>
            <p:cNvPr id="39" name="Textbox" hidden="1">
              <a:extLst>
                <a:ext uri="{FF2B5EF4-FFF2-40B4-BE49-F238E27FC236}">
                  <a16:creationId xmlns:a16="http://schemas.microsoft.com/office/drawing/2014/main" id="{2284C79E-0A15-4846-9E4E-6633A767AB9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969735" y="3882812"/>
              <a:ext cx="284667" cy="0"/>
            </a:xfrm>
            <a:prstGeom prst="rect">
              <a:avLst/>
            </a:prstGeom>
            <a:noFill/>
            <a:effectLst/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 defTabSz="5250525">
                <a:lnSpc>
                  <a:spcPct val="100000"/>
                </a:lnSpc>
                <a:tabLst>
                  <a:tab pos="5350535" algn="l"/>
                </a:tabLst>
              </a:pPr>
              <a:r>
                <a:rPr lang="en-US" sz="100" b="0" i="0" u="none" strike="noStrike">
                  <a:solidFill>
                    <a:schemeClr val="bg1"/>
                  </a:solidFill>
                  <a:latin typeface="Verdana" panose="020B0604030504040204" pitchFamily="34" charset="0"/>
                </a:rPr>
                <a:t>&lt;TEXT&gt;</a:t>
              </a:r>
            </a:p>
          </p:txBody>
        </p:sp>
        <p:sp>
          <p:nvSpPr>
            <p:cNvPr id="40" name="Textbox" hidden="1">
              <a:extLst>
                <a:ext uri="{FF2B5EF4-FFF2-40B4-BE49-F238E27FC236}">
                  <a16:creationId xmlns:a16="http://schemas.microsoft.com/office/drawing/2014/main" id="{8AE5AEE7-60BA-446C-9C4B-BB146F2E26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432706" y="3882812"/>
              <a:ext cx="284667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00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41" name="Textbox" hidden="1">
              <a:extLst>
                <a:ext uri="{FF2B5EF4-FFF2-40B4-BE49-F238E27FC236}">
                  <a16:creationId xmlns:a16="http://schemas.microsoft.com/office/drawing/2014/main" id="{ED6269D8-2B0E-4CA5-AE4B-4E13177F22A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447916" y="3882812"/>
              <a:ext cx="477746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42" name="Textbox" hidden="1">
              <a:extLst>
                <a:ext uri="{FF2B5EF4-FFF2-40B4-BE49-F238E27FC236}">
                  <a16:creationId xmlns:a16="http://schemas.microsoft.com/office/drawing/2014/main" id="{598075B5-80A7-422C-9CEB-1E308AED43C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3856577" y="3882812"/>
              <a:ext cx="942796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43" name="Textbox" hidden="1">
              <a:extLst>
                <a:ext uri="{FF2B5EF4-FFF2-40B4-BE49-F238E27FC236}">
                  <a16:creationId xmlns:a16="http://schemas.microsoft.com/office/drawing/2014/main" id="{D03A90FA-1171-4D2C-90F6-5306AFCE40F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741456" y="3882812"/>
              <a:ext cx="104105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44" name="Textbox" hidden="1">
              <a:extLst>
                <a:ext uri="{FF2B5EF4-FFF2-40B4-BE49-F238E27FC236}">
                  <a16:creationId xmlns:a16="http://schemas.microsoft.com/office/drawing/2014/main" id="{2587404F-A7EC-4D2A-8072-6F4890EF311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866874" y="3882812"/>
              <a:ext cx="513542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45" name="SP Agenda Section Highlight" hidden="1">
            <a:extLst>
              <a:ext uri="{FF2B5EF4-FFF2-40B4-BE49-F238E27FC236}">
                <a16:creationId xmlns:a16="http://schemas.microsoft.com/office/drawing/2014/main" id="{4DC9A6F5-7950-4213-9B6B-8EC30700325F}"/>
              </a:ext>
            </a:extLst>
          </p:cNvPr>
          <p:cNvGrpSpPr/>
          <p:nvPr userDrawn="1"/>
        </p:nvGrpSpPr>
        <p:grpSpPr>
          <a:xfrm>
            <a:off x="393700" y="2473554"/>
            <a:ext cx="15531962" cy="0"/>
            <a:chOff x="393700" y="3298072"/>
            <a:chExt cx="15531962" cy="0"/>
          </a:xfrm>
        </p:grpSpPr>
        <p:sp>
          <p:nvSpPr>
            <p:cNvPr id="46" name="Textbox" hidden="1">
              <a:extLst>
                <a:ext uri="{FF2B5EF4-FFF2-40B4-BE49-F238E27FC236}">
                  <a16:creationId xmlns:a16="http://schemas.microsoft.com/office/drawing/2014/main" id="{AD6D2915-2B1F-45A0-BD7F-1B11683351A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93700" y="3298072"/>
              <a:ext cx="7888288" cy="0"/>
            </a:xfrm>
            <a:prstGeom prst="rect">
              <a:avLst/>
            </a:prstGeom>
            <a:noFill/>
            <a:effectLst/>
          </p:spPr>
          <p:txBody>
            <a:bodyPr vert="horz" wrap="square" lIns="0" tIns="0" rIns="0" bIns="0" rtlCol="0" anchor="b">
              <a:noAutofit/>
            </a:bodyPr>
            <a:lstStyle/>
            <a:p>
              <a:pPr algn="l" defTabSz="5250525">
                <a:lnSpc>
                  <a:spcPct val="95000"/>
                </a:lnSpc>
                <a:tabLst>
                  <a:tab pos="5350535" algn="l"/>
                </a:tabLst>
              </a:pPr>
              <a:r>
                <a:rPr lang="en-US" sz="2888" b="1" i="0" u="none" strike="noStrike">
                  <a:solidFill>
                    <a:schemeClr val="bg1"/>
                  </a:solidFill>
                  <a:latin typeface="Verdana" panose="020B0604030504040204" pitchFamily="34" charset="0"/>
                </a:rPr>
                <a:t>&lt;TEXT&gt;</a:t>
              </a:r>
            </a:p>
          </p:txBody>
        </p:sp>
        <p:sp>
          <p:nvSpPr>
            <p:cNvPr id="47" name="Textbox" hidden="1">
              <a:extLst>
                <a:ext uri="{FF2B5EF4-FFF2-40B4-BE49-F238E27FC236}">
                  <a16:creationId xmlns:a16="http://schemas.microsoft.com/office/drawing/2014/main" id="{325AA840-2550-4B20-8AE1-BD174384D81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432706" y="3298072"/>
              <a:ext cx="284667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788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48" name="Textbox" hidden="1">
              <a:extLst>
                <a:ext uri="{FF2B5EF4-FFF2-40B4-BE49-F238E27FC236}">
                  <a16:creationId xmlns:a16="http://schemas.microsoft.com/office/drawing/2014/main" id="{135135CF-FE49-4951-942D-D4B95F00952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447916" y="3298072"/>
              <a:ext cx="477746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788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49" name="Textbox" hidden="1">
              <a:extLst>
                <a:ext uri="{FF2B5EF4-FFF2-40B4-BE49-F238E27FC236}">
                  <a16:creationId xmlns:a16="http://schemas.microsoft.com/office/drawing/2014/main" id="{91758A3A-F069-4EF7-8028-82204583E92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3856577" y="3298072"/>
              <a:ext cx="942796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788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50" name="Textbox" hidden="1">
              <a:extLst>
                <a:ext uri="{FF2B5EF4-FFF2-40B4-BE49-F238E27FC236}">
                  <a16:creationId xmlns:a16="http://schemas.microsoft.com/office/drawing/2014/main" id="{55549827-8249-4F56-82A7-56C687E3DDB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741456" y="3298072"/>
              <a:ext cx="104105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788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51" name="Textbox" hidden="1">
              <a:extLst>
                <a:ext uri="{FF2B5EF4-FFF2-40B4-BE49-F238E27FC236}">
                  <a16:creationId xmlns:a16="http://schemas.microsoft.com/office/drawing/2014/main" id="{7CDF3F39-ED49-458E-A425-29EDF8561AA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866874" y="3298072"/>
              <a:ext cx="513542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788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52" name="SP Agenda Subsection" hidden="1">
            <a:extLst>
              <a:ext uri="{FF2B5EF4-FFF2-40B4-BE49-F238E27FC236}">
                <a16:creationId xmlns:a16="http://schemas.microsoft.com/office/drawing/2014/main" id="{DE6F9A34-02D6-4866-BAC8-BB2314B96324}"/>
              </a:ext>
            </a:extLst>
          </p:cNvPr>
          <p:cNvGrpSpPr>
            <a:grpSpLocks/>
          </p:cNvGrpSpPr>
          <p:nvPr userDrawn="1"/>
        </p:nvGrpSpPr>
        <p:grpSpPr>
          <a:xfrm>
            <a:off x="9432706" y="2473554"/>
            <a:ext cx="6492956" cy="0"/>
            <a:chOff x="9432706" y="3882812"/>
            <a:chExt cx="6492956" cy="0"/>
          </a:xfrm>
        </p:grpSpPr>
        <p:sp>
          <p:nvSpPr>
            <p:cNvPr id="53" name="Textbox" hidden="1">
              <a:extLst>
                <a:ext uri="{FF2B5EF4-FFF2-40B4-BE49-F238E27FC236}">
                  <a16:creationId xmlns:a16="http://schemas.microsoft.com/office/drawing/2014/main" id="{8531431A-03EF-4AF9-A1A2-4747BEE2BAB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969735" y="3882812"/>
              <a:ext cx="284667" cy="0"/>
            </a:xfrm>
            <a:prstGeom prst="rect">
              <a:avLst/>
            </a:prstGeom>
            <a:noFill/>
            <a:effectLst/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 defTabSz="5250525">
                <a:lnSpc>
                  <a:spcPct val="100000"/>
                </a:lnSpc>
                <a:tabLst>
                  <a:tab pos="5350535" algn="l"/>
                </a:tabLst>
              </a:pPr>
              <a:r>
                <a:rPr lang="en-US" sz="100" b="0" i="0" u="none" strike="noStrike">
                  <a:solidFill>
                    <a:schemeClr val="bg1"/>
                  </a:solidFill>
                  <a:latin typeface="Verdana" panose="020B0604030504040204" pitchFamily="34" charset="0"/>
                </a:rPr>
                <a:t>&lt;TEXT&gt;</a:t>
              </a:r>
            </a:p>
          </p:txBody>
        </p:sp>
        <p:sp>
          <p:nvSpPr>
            <p:cNvPr id="54" name="Textbox" hidden="1">
              <a:extLst>
                <a:ext uri="{FF2B5EF4-FFF2-40B4-BE49-F238E27FC236}">
                  <a16:creationId xmlns:a16="http://schemas.microsoft.com/office/drawing/2014/main" id="{EB31EA35-11C5-4424-B048-152869D4A15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432706" y="3882812"/>
              <a:ext cx="284667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00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55" name="Textbox" hidden="1">
              <a:extLst>
                <a:ext uri="{FF2B5EF4-FFF2-40B4-BE49-F238E27FC236}">
                  <a16:creationId xmlns:a16="http://schemas.microsoft.com/office/drawing/2014/main" id="{30E03BEB-213E-45FC-B368-E264C70D601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447916" y="3882812"/>
              <a:ext cx="477746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56" name="Textbox" hidden="1">
              <a:extLst>
                <a:ext uri="{FF2B5EF4-FFF2-40B4-BE49-F238E27FC236}">
                  <a16:creationId xmlns:a16="http://schemas.microsoft.com/office/drawing/2014/main" id="{CA4FDD9C-21D1-44F3-98E7-1D83F2FD77B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3856577" y="3882812"/>
              <a:ext cx="942796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57" name="Textbox" hidden="1">
              <a:extLst>
                <a:ext uri="{FF2B5EF4-FFF2-40B4-BE49-F238E27FC236}">
                  <a16:creationId xmlns:a16="http://schemas.microsoft.com/office/drawing/2014/main" id="{E4701C49-8483-4737-95E0-4546C9019B7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741456" y="3882812"/>
              <a:ext cx="104105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58" name="Textbox" hidden="1">
              <a:extLst>
                <a:ext uri="{FF2B5EF4-FFF2-40B4-BE49-F238E27FC236}">
                  <a16:creationId xmlns:a16="http://schemas.microsoft.com/office/drawing/2014/main" id="{C9AEA27A-5F87-4662-9466-D54059F35AC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866874" y="3882812"/>
              <a:ext cx="513542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59" name="SP Agenda Subsection Highlight" hidden="1">
            <a:extLst>
              <a:ext uri="{FF2B5EF4-FFF2-40B4-BE49-F238E27FC236}">
                <a16:creationId xmlns:a16="http://schemas.microsoft.com/office/drawing/2014/main" id="{07D5CB87-0AB1-4836-9D54-814A620ACCB2}"/>
              </a:ext>
            </a:extLst>
          </p:cNvPr>
          <p:cNvGrpSpPr>
            <a:grpSpLocks/>
          </p:cNvGrpSpPr>
          <p:nvPr userDrawn="1"/>
        </p:nvGrpSpPr>
        <p:grpSpPr>
          <a:xfrm>
            <a:off x="9432706" y="2473554"/>
            <a:ext cx="6492956" cy="0"/>
            <a:chOff x="9432706" y="3882812"/>
            <a:chExt cx="6492956" cy="0"/>
          </a:xfrm>
        </p:grpSpPr>
        <p:sp>
          <p:nvSpPr>
            <p:cNvPr id="60" name="Textbox" hidden="1">
              <a:extLst>
                <a:ext uri="{FF2B5EF4-FFF2-40B4-BE49-F238E27FC236}">
                  <a16:creationId xmlns:a16="http://schemas.microsoft.com/office/drawing/2014/main" id="{14A6605F-A8F1-4457-AFD2-E39572B4689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969735" y="3882812"/>
              <a:ext cx="284667" cy="0"/>
            </a:xfrm>
            <a:prstGeom prst="rect">
              <a:avLst/>
            </a:prstGeom>
            <a:noFill/>
            <a:effectLst/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 defTabSz="5250525">
                <a:lnSpc>
                  <a:spcPct val="100000"/>
                </a:lnSpc>
                <a:tabLst>
                  <a:tab pos="5350535" algn="l"/>
                </a:tabLst>
              </a:pPr>
              <a:r>
                <a:rPr lang="en-US" sz="100" b="0" i="0" u="none" strike="noStrike">
                  <a:solidFill>
                    <a:schemeClr val="bg1"/>
                  </a:solidFill>
                  <a:latin typeface="Verdana" panose="020B0604030504040204" pitchFamily="34" charset="0"/>
                </a:rPr>
                <a:t>&lt;TEXT&gt;</a:t>
              </a:r>
            </a:p>
          </p:txBody>
        </p:sp>
        <p:sp>
          <p:nvSpPr>
            <p:cNvPr id="61" name="Textbox" hidden="1">
              <a:extLst>
                <a:ext uri="{FF2B5EF4-FFF2-40B4-BE49-F238E27FC236}">
                  <a16:creationId xmlns:a16="http://schemas.microsoft.com/office/drawing/2014/main" id="{FB68FE5B-87FF-4546-BAB8-526F72057E8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432706" y="3882812"/>
              <a:ext cx="284667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00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62" name="Textbox" hidden="1">
              <a:extLst>
                <a:ext uri="{FF2B5EF4-FFF2-40B4-BE49-F238E27FC236}">
                  <a16:creationId xmlns:a16="http://schemas.microsoft.com/office/drawing/2014/main" id="{B430240E-E82B-4495-905D-FE657E8331F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447916" y="3882812"/>
              <a:ext cx="477746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63" name="Textbox" hidden="1">
              <a:extLst>
                <a:ext uri="{FF2B5EF4-FFF2-40B4-BE49-F238E27FC236}">
                  <a16:creationId xmlns:a16="http://schemas.microsoft.com/office/drawing/2014/main" id="{889F9C0D-E7CB-4A51-B5A1-6193CA20BEF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3856577" y="3882812"/>
              <a:ext cx="942796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64" name="Textbox" hidden="1">
              <a:extLst>
                <a:ext uri="{FF2B5EF4-FFF2-40B4-BE49-F238E27FC236}">
                  <a16:creationId xmlns:a16="http://schemas.microsoft.com/office/drawing/2014/main" id="{AA9D65CA-C0CD-443D-B920-F4365E26787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741456" y="3882812"/>
              <a:ext cx="104105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65" name="Textbox" hidden="1">
              <a:extLst>
                <a:ext uri="{FF2B5EF4-FFF2-40B4-BE49-F238E27FC236}">
                  <a16:creationId xmlns:a16="http://schemas.microsoft.com/office/drawing/2014/main" id="{038F32AB-5A91-4491-A398-D08A377B5E8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4866874" y="3882812"/>
              <a:ext cx="513542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22926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203651" y="1275160"/>
            <a:ext cx="4587925" cy="3449241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248968"/>
            <a:ext cx="3250247" cy="347543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25254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248968"/>
            <a:ext cx="8439150" cy="34754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3808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249364"/>
            <a:ext cx="8439150" cy="3475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25943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8856000" cy="5143500"/>
          </a:xfrm>
        </p:spPr>
        <p:txBody>
          <a:bodyPr anchor="ctr"/>
          <a:lstStyle>
            <a:lvl1pPr algn="ctr">
              <a:buNone/>
              <a:defRPr>
                <a:solidFill>
                  <a:srgbClr val="FF0000"/>
                </a:solidFill>
                <a:latin typeface="FlandersArtSans-Regular" panose="00000500000000000000" pitchFamily="2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B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96001" y="567000"/>
            <a:ext cx="4400361" cy="1647000"/>
          </a:xfrm>
        </p:spPr>
        <p:txBody>
          <a:bodyPr anchor="t">
            <a:noAutofit/>
          </a:bodyPr>
          <a:lstStyle>
            <a:lvl1pPr indent="0" algn="l">
              <a:lnSpc>
                <a:spcPts val="2850"/>
              </a:lnSpc>
              <a:defRPr sz="2775" b="0" i="0">
                <a:solidFill>
                  <a:schemeClr val="tx1"/>
                </a:solidFill>
                <a:latin typeface="+mj-lt"/>
                <a:cs typeface="FlandersArtSans-Regular" panose="00000500000000000000" pitchFamily="2" charset="0"/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15" name="Tijdelijke aanduiding voor dianummer 6"/>
          <p:cNvSpPr>
            <a:spLocks noGrp="1"/>
          </p:cNvSpPr>
          <p:nvPr>
            <p:ph type="sldNum" sz="quarter" idx="12"/>
          </p:nvPr>
        </p:nvSpPr>
        <p:spPr>
          <a:xfrm>
            <a:off x="6876015" y="4752000"/>
            <a:ext cx="2141621" cy="273844"/>
          </a:xfrm>
        </p:spPr>
        <p:txBody>
          <a:bodyPr/>
          <a:lstStyle>
            <a:lvl1pPr>
              <a:defRPr sz="675">
                <a:latin typeface="FlandersArtSans-Regular" panose="00000500000000000000" pitchFamily="2" charset="0"/>
              </a:defRPr>
            </a:lvl1pPr>
          </a:lstStyle>
          <a:p>
            <a:fld id="{7749CDD0-7D77-4D23-9A27-F361E39BA472}" type="datetime1">
              <a:rPr lang="nl-BE" smtClean="0"/>
              <a:pPr/>
              <a:t>8/07/2024</a:t>
            </a:fld>
            <a:r>
              <a:rPr lang="nl-BE"/>
              <a:t> </a:t>
            </a:r>
            <a:r>
              <a:rPr lang="nl-BE" b="1"/>
              <a:t>│</a:t>
            </a:r>
            <a:fld id="{B263F6C6-2226-4286-8995-C42CB1E7C290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10" name="Rechthoek 9"/>
          <p:cNvSpPr/>
          <p:nvPr userDrawn="1"/>
        </p:nvSpPr>
        <p:spPr>
          <a:xfrm>
            <a:off x="1" y="0"/>
            <a:ext cx="282207" cy="5143500"/>
          </a:xfrm>
          <a:prstGeom prst="rect">
            <a:avLst/>
          </a:prstGeom>
          <a:solidFill>
            <a:srgbClr val="D26E25"/>
          </a:solidFill>
          <a:ln>
            <a:solidFill>
              <a:srgbClr val="D26E2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>
              <a:latin typeface="FlandersArtSans-Regular" panose="00000500000000000000" pitchFamily="2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FC8CEDB-EBA9-758F-9CD8-9B3878C07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6942" y="4544299"/>
            <a:ext cx="759058" cy="35771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0C36226-8C36-DA6A-7DD4-7AF659100F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65005" y="216000"/>
            <a:ext cx="1821067" cy="70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7430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257302"/>
            <a:ext cx="8439150" cy="34670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31825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1540936"/>
            <a:ext cx="8439150" cy="2946157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244862"/>
            <a:ext cx="8439150" cy="26789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0" y="4487093"/>
            <a:ext cx="8439151" cy="23730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683629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1539000"/>
            <a:ext cx="2700000" cy="294809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248967"/>
            <a:ext cx="2700000" cy="29408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1538999"/>
            <a:ext cx="2700000" cy="294809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248966"/>
            <a:ext cx="2700000" cy="29408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1539000"/>
            <a:ext cx="2700000" cy="294809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244359"/>
            <a:ext cx="2700000" cy="29869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0" y="4487093"/>
            <a:ext cx="8439151" cy="23730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399164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51000" y="1248967"/>
            <a:ext cx="3996000" cy="3466880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242001"/>
            <a:ext cx="3996000" cy="3473846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2552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248966"/>
            <a:ext cx="3996000" cy="3475434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248966"/>
            <a:ext cx="3996000" cy="3475434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859635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248966"/>
            <a:ext cx="4110300" cy="3238127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1593760"/>
            <a:ext cx="4111887" cy="2893333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8" y="1241823"/>
            <a:ext cx="4111887" cy="315515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0" y="4487093"/>
            <a:ext cx="8439151" cy="23730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466507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1593760"/>
            <a:ext cx="4111887" cy="2893333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240522"/>
            <a:ext cx="4111887" cy="315515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2425" y="1593760"/>
            <a:ext cx="4111888" cy="2893333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52424" y="1248967"/>
            <a:ext cx="4111888" cy="30707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0" y="4487093"/>
            <a:ext cx="8439151" cy="23730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802672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248967"/>
            <a:ext cx="3323893" cy="347543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275160"/>
            <a:ext cx="4680000" cy="3449242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157642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219575"/>
            <a:ext cx="3200237" cy="3504826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5" y="1248966"/>
            <a:ext cx="4995650" cy="3475435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888889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6557" y="1275160"/>
            <a:ext cx="1998000" cy="945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505780" y="1275159"/>
            <a:ext cx="1998000" cy="945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45004" y="1275159"/>
            <a:ext cx="1998000" cy="945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84227" y="1275159"/>
            <a:ext cx="1998000" cy="945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61772" y="2307430"/>
            <a:ext cx="1980000" cy="241697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55408" y="2309807"/>
            <a:ext cx="1980000" cy="241697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08590" y="2307430"/>
            <a:ext cx="1980000" cy="241697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802227" y="2309807"/>
            <a:ext cx="1980000" cy="241697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252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8856000" cy="5143500"/>
          </a:xfrm>
        </p:spPr>
        <p:txBody>
          <a:bodyPr anchor="ctr"/>
          <a:lstStyle>
            <a:lvl1pPr algn="ctr">
              <a:buNone/>
              <a:defRPr>
                <a:solidFill>
                  <a:srgbClr val="FF0000"/>
                </a:solidFill>
                <a:latin typeface="FlandersArtSans-Regular" panose="00000500000000000000" pitchFamily="2" charset="0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BE"/>
          </a:p>
        </p:txBody>
      </p:sp>
      <p:grpSp>
        <p:nvGrpSpPr>
          <p:cNvPr id="11" name="Groeperen 10"/>
          <p:cNvGrpSpPr/>
          <p:nvPr userDrawn="1"/>
        </p:nvGrpSpPr>
        <p:grpSpPr>
          <a:xfrm>
            <a:off x="288000" y="2551500"/>
            <a:ext cx="8856000" cy="2592000"/>
            <a:chOff x="288000" y="3402000"/>
            <a:chExt cx="8856000" cy="3456000"/>
          </a:xfrm>
        </p:grpSpPr>
        <p:sp>
          <p:nvSpPr>
            <p:cNvPr id="5" name="Rechthoek 4"/>
            <p:cNvSpPr/>
            <p:nvPr userDrawn="1"/>
          </p:nvSpPr>
          <p:spPr>
            <a:xfrm>
              <a:off x="288000" y="4266000"/>
              <a:ext cx="8856000" cy="259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>
                <a:latin typeface="FlandersArtSans-Regular" panose="00000500000000000000" pitchFamily="2" charset="0"/>
              </a:endParaRPr>
            </a:p>
          </p:txBody>
        </p:sp>
        <p:sp>
          <p:nvSpPr>
            <p:cNvPr id="7" name="Rechthoekige driehoek 6"/>
            <p:cNvSpPr/>
            <p:nvPr userDrawn="1"/>
          </p:nvSpPr>
          <p:spPr>
            <a:xfrm flipH="1">
              <a:off x="288000" y="3402000"/>
              <a:ext cx="8856000" cy="864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>
                <a:latin typeface="FlandersArtSans-Regular" panose="00000500000000000000" pitchFamily="2" charset="0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96001" y="567000"/>
            <a:ext cx="3686547" cy="1647000"/>
          </a:xfrm>
        </p:spPr>
        <p:txBody>
          <a:bodyPr anchor="t">
            <a:noAutofit/>
          </a:bodyPr>
          <a:lstStyle>
            <a:lvl1pPr indent="0" algn="l">
              <a:lnSpc>
                <a:spcPts val="2850"/>
              </a:lnSpc>
              <a:defRPr sz="2775" b="0" i="0">
                <a:solidFill>
                  <a:schemeClr val="bg1"/>
                </a:solidFill>
                <a:latin typeface="+mj-lt"/>
                <a:cs typeface="FlandersArtSans-Regular" panose="00000500000000000000" pitchFamily="2" charset="0"/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8" name="Tijdelijke aanduiding voor dianummer 6"/>
          <p:cNvSpPr>
            <a:spLocks noGrp="1"/>
          </p:cNvSpPr>
          <p:nvPr>
            <p:ph type="sldNum" sz="quarter" idx="12"/>
          </p:nvPr>
        </p:nvSpPr>
        <p:spPr>
          <a:xfrm>
            <a:off x="6876015" y="4752000"/>
            <a:ext cx="2141621" cy="273844"/>
          </a:xfrm>
        </p:spPr>
        <p:txBody>
          <a:bodyPr/>
          <a:lstStyle>
            <a:lvl1pPr>
              <a:defRPr sz="675">
                <a:latin typeface="FlandersArtSans-Regular" panose="00000500000000000000" pitchFamily="2" charset="0"/>
              </a:defRPr>
            </a:lvl1pPr>
          </a:lstStyle>
          <a:p>
            <a:fld id="{7749CDD0-7D77-4D23-9A27-F361E39BA472}" type="datetime1">
              <a:rPr lang="nl-BE" smtClean="0"/>
              <a:pPr/>
              <a:t>8/07/2024</a:t>
            </a:fld>
            <a:r>
              <a:rPr lang="nl-BE"/>
              <a:t> </a:t>
            </a:r>
            <a:r>
              <a:rPr lang="nl-BE" b="1"/>
              <a:t>│</a:t>
            </a:r>
            <a:fld id="{B263F6C6-2226-4286-8995-C42CB1E7C290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12" name="Rechthoek 11"/>
          <p:cNvSpPr/>
          <p:nvPr userDrawn="1"/>
        </p:nvSpPr>
        <p:spPr>
          <a:xfrm>
            <a:off x="1" y="0"/>
            <a:ext cx="282207" cy="5143500"/>
          </a:xfrm>
          <a:prstGeom prst="rect">
            <a:avLst/>
          </a:prstGeom>
          <a:solidFill>
            <a:srgbClr val="D26E25"/>
          </a:solidFill>
          <a:ln>
            <a:solidFill>
              <a:srgbClr val="D26E2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>
              <a:latin typeface="FlandersArtSans-Regular" panose="00000500000000000000" pitchFamily="2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5228CF2-E25C-A0F4-0C43-C6C9F6ED3A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6942" y="4544299"/>
            <a:ext cx="759058" cy="35771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2F0E1DC-FEBC-5C08-72ED-87F2BFCFE6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65005" y="216000"/>
            <a:ext cx="1821067" cy="70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5454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57585" y="1277897"/>
            <a:ext cx="41526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38675" y="1277897"/>
            <a:ext cx="41526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52425" y="3048880"/>
            <a:ext cx="41526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38675" y="3048880"/>
            <a:ext cx="41526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57585" y="1410160"/>
            <a:ext cx="1587600" cy="11934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53073" y="1410159"/>
            <a:ext cx="1587600" cy="11934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61334" y="3192158"/>
            <a:ext cx="1587600" cy="11934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53073" y="3192158"/>
            <a:ext cx="1587600" cy="11934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130585" y="1410160"/>
            <a:ext cx="2379600" cy="1458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413007" y="1410160"/>
            <a:ext cx="2378268" cy="1458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101913" y="3192160"/>
            <a:ext cx="2379600" cy="1458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411675" y="3192159"/>
            <a:ext cx="2379600" cy="1458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5480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2425" y="1275160"/>
            <a:ext cx="2720579" cy="1539623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8" y="1275160"/>
            <a:ext cx="2729487" cy="1544324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1" y="1275160"/>
            <a:ext cx="2727722" cy="154332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52425" y="2874169"/>
            <a:ext cx="2720579" cy="1636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2874168"/>
            <a:ext cx="2727722" cy="16400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8" y="2874168"/>
            <a:ext cx="2729487" cy="16410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831138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706783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393420"/>
            <a:ext cx="4158000" cy="1271588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393420"/>
            <a:ext cx="4158000" cy="1271588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52424" y="1279034"/>
            <a:ext cx="4158000" cy="397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625847" y="1279034"/>
            <a:ext cx="4158000" cy="397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393419"/>
            <a:ext cx="933121" cy="411956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397938"/>
            <a:ext cx="933680" cy="411956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686422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4" y="1393420"/>
            <a:ext cx="4158000" cy="1271588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33097" y="1393420"/>
            <a:ext cx="4158000" cy="1271588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52424" y="1279034"/>
            <a:ext cx="4158000" cy="397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25847" y="1279034"/>
            <a:ext cx="4158000" cy="397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50727" y="1393419"/>
            <a:ext cx="933121" cy="411956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52424" y="3187261"/>
            <a:ext cx="4158000" cy="1271588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33095" y="3187261"/>
            <a:ext cx="4158000" cy="1271588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52424" y="3077639"/>
            <a:ext cx="41580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25847" y="3077639"/>
            <a:ext cx="4158000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25327" y="3187263"/>
            <a:ext cx="956187" cy="411956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4277" y="3186157"/>
            <a:ext cx="933120" cy="411956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51096" y="1397938"/>
            <a:ext cx="933680" cy="411956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310776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279476"/>
            <a:ext cx="2727722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5" y="1279476"/>
            <a:ext cx="2720579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2" y="1279476"/>
            <a:ext cx="2721769" cy="4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388581"/>
            <a:ext cx="2727722" cy="288431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5" y="1388581"/>
            <a:ext cx="2720579" cy="288431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7" y="1388581"/>
            <a:ext cx="2721769" cy="288431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150557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5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5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50028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52427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47575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17476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82525" y="1917000"/>
            <a:ext cx="1944000" cy="25461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76240" y="4857750"/>
            <a:ext cx="40163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bg1"/>
                </a:solidFill>
              </a:rPr>
              <a:t>© 2020 Deloitte Belgium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056179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50837" y="1249363"/>
            <a:ext cx="4153298" cy="3475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133130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72674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/>
          </p:nvPr>
        </p:nvSpPr>
        <p:spPr>
          <a:xfrm>
            <a:off x="288000" y="0"/>
            <a:ext cx="8856000" cy="5143500"/>
          </a:xfrm>
        </p:spPr>
        <p:txBody>
          <a:bodyPr anchor="ctr"/>
          <a:lstStyle>
            <a:lvl1pPr algn="ctr">
              <a:buNone/>
              <a:defRPr>
                <a:solidFill>
                  <a:srgbClr val="FF0000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B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96001" y="567000"/>
            <a:ext cx="4400361" cy="1647000"/>
          </a:xfrm>
        </p:spPr>
        <p:txBody>
          <a:bodyPr anchor="t">
            <a:noAutofit/>
          </a:bodyPr>
          <a:lstStyle>
            <a:lvl1pPr indent="0" algn="l">
              <a:lnSpc>
                <a:spcPts val="2850"/>
              </a:lnSpc>
              <a:defRPr sz="2775" b="0" i="0">
                <a:solidFill>
                  <a:schemeClr val="bg1"/>
                </a:solidFill>
                <a:latin typeface="+mj-lt"/>
                <a:cs typeface="FlandersArtSans-Bold" panose="00000800000000000000" pitchFamily="2" charset="0"/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8" name="Tijdelijke aanduiding voor dianummer 6"/>
          <p:cNvSpPr>
            <a:spLocks noGrp="1"/>
          </p:cNvSpPr>
          <p:nvPr>
            <p:ph type="sldNum" sz="quarter" idx="12"/>
          </p:nvPr>
        </p:nvSpPr>
        <p:spPr>
          <a:xfrm>
            <a:off x="6876015" y="4752000"/>
            <a:ext cx="2141621" cy="273844"/>
          </a:xfrm>
        </p:spPr>
        <p:txBody>
          <a:bodyPr/>
          <a:lstStyle>
            <a:lvl1pPr>
              <a:defRPr sz="675">
                <a:latin typeface="FlandersArtSans-Regular" panose="00000500000000000000" pitchFamily="2" charset="0"/>
              </a:defRPr>
            </a:lvl1pPr>
          </a:lstStyle>
          <a:p>
            <a:fld id="{7749CDD0-7D77-4D23-9A27-F361E39BA472}" type="datetime1">
              <a:rPr lang="nl-BE" smtClean="0"/>
              <a:pPr/>
              <a:t>8/07/2024</a:t>
            </a:fld>
            <a:r>
              <a:rPr lang="nl-BE"/>
              <a:t> </a:t>
            </a:r>
            <a:r>
              <a:rPr lang="nl-BE" b="1"/>
              <a:t>│</a:t>
            </a:r>
            <a:fld id="{B263F6C6-2226-4286-8995-C42CB1E7C290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12" name="Ondertitel 2"/>
          <p:cNvSpPr>
            <a:spLocks noGrp="1"/>
          </p:cNvSpPr>
          <p:nvPr>
            <p:ph type="subTitle" idx="1"/>
          </p:nvPr>
        </p:nvSpPr>
        <p:spPr>
          <a:xfrm>
            <a:off x="5176692" y="3143732"/>
            <a:ext cx="3408509" cy="1584679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1875"/>
              </a:lnSpc>
              <a:spcBef>
                <a:spcPts val="0"/>
              </a:spcBef>
              <a:buNone/>
              <a:defRPr sz="1575">
                <a:latin typeface="Calibri"/>
                <a:cs typeface="Calibri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ken om de ondertitelstijl van het model te bewerken</a:t>
            </a:r>
            <a:endParaRPr lang="nl-BE"/>
          </a:p>
        </p:txBody>
      </p:sp>
      <p:sp>
        <p:nvSpPr>
          <p:cNvPr id="18" name="Rechthoek 17"/>
          <p:cNvSpPr/>
          <p:nvPr userDrawn="1"/>
        </p:nvSpPr>
        <p:spPr>
          <a:xfrm>
            <a:off x="1" y="0"/>
            <a:ext cx="282207" cy="5143500"/>
          </a:xfrm>
          <a:prstGeom prst="rect">
            <a:avLst/>
          </a:prstGeom>
          <a:solidFill>
            <a:srgbClr val="D26E25"/>
          </a:solidFill>
          <a:ln>
            <a:solidFill>
              <a:srgbClr val="D26E2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E229ADE-710E-39C1-0650-910B572D69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6942" y="4544299"/>
            <a:ext cx="759058" cy="35771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02E160A-8AAD-88DC-A92C-B95F68F55EB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65005" y="216000"/>
            <a:ext cx="1821067" cy="70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73885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680247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01" y="4383887"/>
            <a:ext cx="4194008" cy="3792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013" b="1">
                <a:solidFill>
                  <a:schemeClr val="bg1"/>
                </a:solidFill>
              </a:defRPr>
            </a:lvl1pPr>
            <a:lvl2pPr marL="0" indent="0" algn="l">
              <a:buNone/>
              <a:defRPr sz="900" b="0">
                <a:solidFill>
                  <a:schemeClr val="bg1"/>
                </a:solidFill>
              </a:defRPr>
            </a:lvl2pPr>
            <a:lvl3pPr marL="685784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4772026"/>
            <a:ext cx="4195762" cy="223838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59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352425" y="343321"/>
            <a:ext cx="1498500" cy="2808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545696"/>
            <a:ext cx="4050000" cy="405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80076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6495" y="4383887"/>
            <a:ext cx="4195761" cy="3792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013" b="1">
                <a:solidFill>
                  <a:schemeClr val="tx1"/>
                </a:solidFill>
              </a:defRPr>
            </a:lvl1pPr>
            <a:lvl2pPr marL="0" indent="0" algn="l">
              <a:buNone/>
              <a:defRPr sz="900" b="0"/>
            </a:lvl2pPr>
            <a:lvl3pPr marL="685784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4772026"/>
            <a:ext cx="4195762" cy="22383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591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356494" y="342900"/>
            <a:ext cx="1498500" cy="2808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545287" y="545696"/>
            <a:ext cx="4050000" cy="405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48176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7612" y="1147838"/>
            <a:ext cx="2835000" cy="2835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138"/>
              </a:lnSpc>
              <a:defRPr sz="18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01" y="4383887"/>
            <a:ext cx="4194008" cy="3792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90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4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00" y="4772026"/>
            <a:ext cx="4195762" cy="223838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59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2425" y="343321"/>
            <a:ext cx="1498500" cy="2808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43639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159000" y="1147500"/>
            <a:ext cx="2835000" cy="2835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138"/>
              </a:lnSpc>
              <a:defRPr sz="18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6495" y="4383887"/>
            <a:ext cx="4195761" cy="37923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4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6494" y="4772026"/>
            <a:ext cx="4195762" cy="22383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591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356494" y="342900"/>
            <a:ext cx="1498500" cy="2808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3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8976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275162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166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6" y="2567659"/>
            <a:ext cx="7813676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166">
                <a:solidFill>
                  <a:schemeClr val="bg1"/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4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5" y="4857752"/>
            <a:ext cx="230981" cy="562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366" noProof="0" smtClean="0">
                <a:solidFill>
                  <a:schemeClr val="bg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366" noProof="0">
              <a:solidFill>
                <a:schemeClr val="bg1"/>
              </a:solidFill>
            </a:endParaRPr>
          </a:p>
        </p:txBody>
      </p:sp>
      <p:sp>
        <p:nvSpPr>
          <p:cNvPr id="5" name="Isosceles Triangle 4"/>
          <p:cNvSpPr/>
          <p:nvPr userDrawn="1"/>
        </p:nvSpPr>
        <p:spPr bwMode="gray">
          <a:xfrm>
            <a:off x="5976567" y="2334104"/>
            <a:ext cx="6334866" cy="2816908"/>
          </a:xfrm>
          <a:prstGeom prst="triangl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nl-BE" sz="1200" b="1">
              <a:solidFill>
                <a:schemeClr val="bg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07760" y="3948102"/>
            <a:ext cx="1136650" cy="672703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x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5630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6" y="1279253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166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6" y="2571750"/>
            <a:ext cx="7813675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166">
                <a:solidFill>
                  <a:schemeClr val="bg1"/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4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Isosceles Triangle 6"/>
          <p:cNvSpPr/>
          <p:nvPr userDrawn="1"/>
        </p:nvSpPr>
        <p:spPr bwMode="gray">
          <a:xfrm>
            <a:off x="5976567" y="2334104"/>
            <a:ext cx="6334866" cy="2816908"/>
          </a:xfrm>
          <a:prstGeom prst="triangle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nl-BE" sz="12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0863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279253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166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6" y="2571750"/>
            <a:ext cx="7813675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166">
                <a:solidFill>
                  <a:schemeClr val="bg1"/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4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368800" y="4857752"/>
            <a:ext cx="3672420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Presentation title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52427" y="4857752"/>
            <a:ext cx="4016375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560595" y="4857752"/>
            <a:ext cx="230981" cy="562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366" noProof="0" smtClean="0">
                <a:solidFill>
                  <a:schemeClr val="bg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366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176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6" y="1279253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166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6" y="2571750"/>
            <a:ext cx="7813675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166">
                <a:solidFill>
                  <a:schemeClr val="bg1"/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4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4368800" y="4857752"/>
            <a:ext cx="3672420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Presentation title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352427" y="4857752"/>
            <a:ext cx="4016375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5" y="4857752"/>
            <a:ext cx="230981" cy="562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366" noProof="0" smtClean="0">
                <a:solidFill>
                  <a:schemeClr val="bg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366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051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352426" y="1279253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166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6" y="2571750"/>
            <a:ext cx="7813675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166">
                <a:solidFill>
                  <a:schemeClr val="bg1"/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4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60595" y="4857752"/>
            <a:ext cx="230981" cy="562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366" noProof="0" smtClean="0">
                <a:solidFill>
                  <a:schemeClr val="bg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366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850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96000" y="567000"/>
            <a:ext cx="7416000" cy="837000"/>
          </a:xfrm>
        </p:spPr>
        <p:txBody>
          <a:bodyPr anchor="t" anchorCtr="0"/>
          <a:lstStyle>
            <a:lvl1pPr>
              <a:defRPr b="0" i="0">
                <a:latin typeface="+mj-lt"/>
                <a:cs typeface="Calibri"/>
              </a:defRPr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296000" y="1431000"/>
            <a:ext cx="3708000" cy="2835000"/>
          </a:xfrm>
        </p:spPr>
        <p:txBody>
          <a:bodyPr bIns="0"/>
          <a:lstStyle>
            <a:lvl1pPr>
              <a:spcBef>
                <a:spcPts val="225"/>
              </a:spcBef>
              <a:defRPr sz="1500">
                <a:latin typeface="FlandersArtSans-Regular" panose="00000500000000000000" pitchFamily="2" charset="0"/>
                <a:cs typeface="Calibri"/>
              </a:defRPr>
            </a:lvl1pPr>
            <a:lvl2pPr>
              <a:spcBef>
                <a:spcPts val="225"/>
              </a:spcBef>
              <a:defRPr sz="1500">
                <a:solidFill>
                  <a:schemeClr val="bg1">
                    <a:lumMod val="50000"/>
                  </a:schemeClr>
                </a:solidFill>
                <a:latin typeface="FlandersArtSans-Regular" panose="00000500000000000000" pitchFamily="2" charset="0"/>
                <a:cs typeface="Calibri"/>
              </a:defRPr>
            </a:lvl2pPr>
            <a:lvl3pPr>
              <a:spcBef>
                <a:spcPts val="225"/>
              </a:spcBef>
              <a:defRPr sz="1350">
                <a:latin typeface="FlandersArtSans-Regular" panose="00000500000000000000" pitchFamily="2" charset="0"/>
                <a:cs typeface="Calibri"/>
              </a:defRPr>
            </a:lvl3pPr>
            <a:lvl4pPr>
              <a:spcBef>
                <a:spcPts val="225"/>
              </a:spcBef>
              <a:defRPr sz="1350">
                <a:latin typeface="FlandersArtSans-Regular" panose="00000500000000000000" pitchFamily="2" charset="0"/>
                <a:cs typeface="Calibri"/>
              </a:defRPr>
            </a:lvl4pPr>
            <a:lvl5pPr>
              <a:spcBef>
                <a:spcPts val="225"/>
              </a:spcBef>
              <a:defRPr sz="1350">
                <a:latin typeface="FlandersArtSans-Regular" panose="00000500000000000000" pitchFamily="2" charset="0"/>
                <a:cs typeface="Calibri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>
          <a:xfrm>
            <a:off x="6876015" y="4752000"/>
            <a:ext cx="2141621" cy="273844"/>
          </a:xfrm>
        </p:spPr>
        <p:txBody>
          <a:bodyPr/>
          <a:lstStyle>
            <a:lvl1pPr>
              <a:defRPr sz="675">
                <a:latin typeface="FlandersArtSans-Regular" panose="00000500000000000000" pitchFamily="2" charset="0"/>
              </a:defRPr>
            </a:lvl1pPr>
          </a:lstStyle>
          <a:p>
            <a:fld id="{7749CDD0-7D77-4D23-9A27-F361E39BA472}" type="datetime1">
              <a:rPr lang="nl-BE" smtClean="0"/>
              <a:pPr/>
              <a:t>8/07/2024</a:t>
            </a:fld>
            <a:r>
              <a:rPr lang="nl-BE"/>
              <a:t> </a:t>
            </a:r>
            <a:r>
              <a:rPr lang="nl-BE" b="1"/>
              <a:t>│</a:t>
            </a:r>
            <a:fld id="{B263F6C6-2226-4286-8995-C42CB1E7C290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10" name="Tijdelijke aanduiding voor inhoud 3"/>
          <p:cNvSpPr>
            <a:spLocks noGrp="1"/>
          </p:cNvSpPr>
          <p:nvPr>
            <p:ph sz="half" idx="13"/>
          </p:nvPr>
        </p:nvSpPr>
        <p:spPr>
          <a:xfrm>
            <a:off x="5040000" y="1431000"/>
            <a:ext cx="3672000" cy="2835000"/>
          </a:xfrm>
        </p:spPr>
        <p:txBody>
          <a:bodyPr bIns="0"/>
          <a:lstStyle>
            <a:lvl1pPr>
              <a:defRPr sz="1500">
                <a:latin typeface="FlandersArtSans-Regular" panose="00000500000000000000" pitchFamily="2" charset="0"/>
                <a:cs typeface="Calibri"/>
              </a:defRPr>
            </a:lvl1pPr>
            <a:lvl2pPr>
              <a:spcBef>
                <a:spcPts val="225"/>
              </a:spcBef>
              <a:defRPr sz="1500">
                <a:solidFill>
                  <a:schemeClr val="bg1">
                    <a:lumMod val="50000"/>
                  </a:schemeClr>
                </a:solidFill>
                <a:latin typeface="FlandersArtSans-Regular" panose="00000500000000000000" pitchFamily="2" charset="0"/>
                <a:cs typeface="Calibri"/>
              </a:defRPr>
            </a:lvl2pPr>
            <a:lvl3pPr>
              <a:spcBef>
                <a:spcPts val="225"/>
              </a:spcBef>
              <a:defRPr sz="1350">
                <a:latin typeface="FlandersArtSans-Regular" panose="00000500000000000000" pitchFamily="2" charset="0"/>
                <a:cs typeface="Calibri"/>
              </a:defRPr>
            </a:lvl3pPr>
            <a:lvl4pPr>
              <a:spcBef>
                <a:spcPts val="225"/>
              </a:spcBef>
              <a:defRPr sz="1350">
                <a:latin typeface="FlandersArtSans-Regular" panose="00000500000000000000" pitchFamily="2" charset="0"/>
                <a:cs typeface="Calibri"/>
              </a:defRPr>
            </a:lvl4pPr>
            <a:lvl5pPr>
              <a:spcBef>
                <a:spcPts val="225"/>
              </a:spcBef>
              <a:defRPr sz="1350">
                <a:latin typeface="FlandersArtSans-Regular" panose="00000500000000000000" pitchFamily="2" charset="0"/>
                <a:cs typeface="Calibri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15" name="Rechthoek 14"/>
          <p:cNvSpPr/>
          <p:nvPr userDrawn="1"/>
        </p:nvSpPr>
        <p:spPr>
          <a:xfrm>
            <a:off x="1" y="0"/>
            <a:ext cx="282207" cy="5143500"/>
          </a:xfrm>
          <a:prstGeom prst="rect">
            <a:avLst/>
          </a:prstGeom>
          <a:solidFill>
            <a:srgbClr val="D26E25"/>
          </a:solidFill>
          <a:ln>
            <a:solidFill>
              <a:srgbClr val="D26E2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>
              <a:latin typeface="FlandersArtSans-Regular" panose="00000500000000000000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A5116E5-7306-73D1-C973-819B6C974A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6942" y="4544299"/>
            <a:ext cx="759058" cy="35771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207030A-DC20-2260-AFF6-2C4FE23E72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65005" y="216000"/>
            <a:ext cx="1821067" cy="70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29410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7" y="1279253"/>
            <a:ext cx="7813675" cy="1194302"/>
          </a:xfrm>
        </p:spPr>
        <p:txBody>
          <a:bodyPr anchor="b"/>
          <a:lstStyle>
            <a:lvl1pPr>
              <a:lnSpc>
                <a:spcPct val="95000"/>
              </a:lnSpc>
              <a:defRPr sz="2166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2571750"/>
            <a:ext cx="7905750" cy="117489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166">
                <a:solidFill>
                  <a:schemeClr val="tx1"/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4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4027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4" y="1193008"/>
            <a:ext cx="6772203" cy="3531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700"/>
              </a:spcBef>
              <a:defRPr sz="1575">
                <a:solidFill>
                  <a:schemeClr val="bg1"/>
                </a:solidFill>
              </a:defRPr>
            </a:lvl1pPr>
            <a:lvl2pPr marL="342892" indent="-342892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368800" y="4857752"/>
            <a:ext cx="3672420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Presentation title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52427" y="4857752"/>
            <a:ext cx="4016375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60595" y="4857752"/>
            <a:ext cx="230981" cy="562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366" noProof="0" smtClean="0">
                <a:solidFill>
                  <a:schemeClr val="bg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366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19924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4" y="1193008"/>
            <a:ext cx="6772203" cy="3531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700"/>
              </a:spcBef>
              <a:defRPr sz="1575">
                <a:solidFill>
                  <a:schemeClr val="bg1"/>
                </a:solidFill>
              </a:defRPr>
            </a:lvl1pPr>
            <a:lvl2pPr marL="342892" indent="-342892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4368800" y="4857752"/>
            <a:ext cx="3672420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Presentation title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52427" y="4857752"/>
            <a:ext cx="4016375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5" y="4857752"/>
            <a:ext cx="230981" cy="562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366" noProof="0" smtClean="0">
                <a:solidFill>
                  <a:schemeClr val="bg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366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47251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4" y="1193008"/>
            <a:ext cx="6772203" cy="3531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700"/>
              </a:spcBef>
              <a:defRPr sz="1575">
                <a:solidFill>
                  <a:schemeClr val="bg1"/>
                </a:solidFill>
              </a:defRPr>
            </a:lvl1pPr>
            <a:lvl2pPr marL="342892" indent="-342892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4368800" y="4857752"/>
            <a:ext cx="3672420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Presentation title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352427" y="4857752"/>
            <a:ext cx="4016375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560595" y="4857752"/>
            <a:ext cx="230981" cy="562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366" noProof="0" smtClean="0">
                <a:solidFill>
                  <a:schemeClr val="bg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366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44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4" y="1193008"/>
            <a:ext cx="6772203" cy="3531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700"/>
              </a:spcBef>
              <a:defRPr sz="1575">
                <a:solidFill>
                  <a:schemeClr val="bg1"/>
                </a:solidFill>
              </a:defRPr>
            </a:lvl1pPr>
            <a:lvl2pPr marL="342892" indent="-342892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4368800" y="4857752"/>
            <a:ext cx="3672420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Presentation title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52427" y="4857752"/>
            <a:ext cx="4016375" cy="1125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366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366" noProof="0">
                <a:solidFill>
                  <a:schemeClr val="bg1"/>
                </a:solidFill>
              </a:rPr>
            </a:br>
            <a:r>
              <a:rPr lang="en-US" sz="366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560595" y="4857752"/>
            <a:ext cx="230981" cy="562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366" noProof="0" smtClean="0">
                <a:solidFill>
                  <a:schemeClr val="bg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366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57619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6" y="1193008"/>
            <a:ext cx="6772203" cy="3531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700"/>
              </a:spcBef>
              <a:defRPr sz="1575">
                <a:solidFill>
                  <a:schemeClr val="tx1"/>
                </a:solidFill>
              </a:defRPr>
            </a:lvl1pPr>
            <a:lvl2pPr marL="342892" indent="-342892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34833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248968"/>
            <a:ext cx="7011590" cy="3475433"/>
          </a:xfrm>
          <a:prstGeom prst="rect">
            <a:avLst/>
          </a:prstGeom>
        </p:spPr>
        <p:txBody>
          <a:bodyPr/>
          <a:lstStyle>
            <a:lvl1pPr>
              <a:tabLst>
                <a:tab pos="5046934" algn="r"/>
              </a:tabLst>
              <a:defRPr/>
            </a:lvl1pPr>
            <a:lvl2pPr>
              <a:tabLst>
                <a:tab pos="5046934" algn="r"/>
              </a:tabLst>
              <a:defRPr/>
            </a:lvl2pPr>
            <a:lvl3pPr>
              <a:tabLst>
                <a:tab pos="5046934" algn="r"/>
              </a:tabLst>
              <a:defRPr/>
            </a:lvl3pPr>
            <a:lvl4pPr>
              <a:tabLst>
                <a:tab pos="5046934" algn="r"/>
              </a:tabLst>
              <a:defRPr/>
            </a:lvl4pPr>
            <a:lvl5pPr>
              <a:tabLst>
                <a:tab pos="3771806" algn="r"/>
              </a:tabLst>
              <a:defRPr baseline="0"/>
            </a:lvl5pPr>
            <a:lvl6pPr>
              <a:tabLst>
                <a:tab pos="5046934" algn="r"/>
              </a:tabLst>
              <a:defRPr/>
            </a:lvl6pPr>
            <a:lvl7pPr>
              <a:tabLst>
                <a:tab pos="5046934" algn="r"/>
              </a:tabLst>
              <a:defRPr/>
            </a:lvl7pPr>
            <a:lvl8pPr>
              <a:tabLst>
                <a:tab pos="5046934" algn="r"/>
              </a:tabLst>
              <a:defRPr/>
            </a:lvl8pPr>
            <a:lvl9pPr>
              <a:tabLst>
                <a:tab pos="5046934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590347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203652" y="1275160"/>
            <a:ext cx="4587925" cy="3449241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7" y="1248968"/>
            <a:ext cx="3250247" cy="3475433"/>
          </a:xfrm>
          <a:prstGeom prst="rect">
            <a:avLst/>
          </a:prstGeom>
        </p:spPr>
        <p:txBody>
          <a:bodyPr/>
          <a:lstStyle>
            <a:lvl1pPr>
              <a:tabLst>
                <a:tab pos="3771806" algn="r"/>
              </a:tabLst>
              <a:defRPr/>
            </a:lvl1pPr>
            <a:lvl2pPr>
              <a:tabLst>
                <a:tab pos="3771806" algn="r"/>
              </a:tabLst>
              <a:defRPr/>
            </a:lvl2pPr>
            <a:lvl3pPr>
              <a:tabLst>
                <a:tab pos="3771806" algn="r"/>
              </a:tabLst>
              <a:defRPr/>
            </a:lvl3pPr>
            <a:lvl4pPr>
              <a:tabLst>
                <a:tab pos="3771806" algn="r"/>
              </a:tabLst>
              <a:defRPr/>
            </a:lvl4pPr>
            <a:lvl5pPr>
              <a:tabLst>
                <a:tab pos="3771806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06985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248968"/>
            <a:ext cx="8439150" cy="34754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091325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8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125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2505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125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249364"/>
            <a:ext cx="8439150" cy="3475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5013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44.xml"/><Relationship Id="rId21" Type="http://schemas.openxmlformats.org/officeDocument/2006/relationships/slideLayout" Target="../slideLayouts/slideLayout48.xml"/><Relationship Id="rId42" Type="http://schemas.openxmlformats.org/officeDocument/2006/relationships/slideLayout" Target="../slideLayouts/slideLayout69.xml"/><Relationship Id="rId63" Type="http://schemas.openxmlformats.org/officeDocument/2006/relationships/slideLayout" Target="../slideLayouts/slideLayout90.xml"/><Relationship Id="rId84" Type="http://schemas.openxmlformats.org/officeDocument/2006/relationships/slideLayout" Target="../slideLayouts/slideLayout111.xml"/><Relationship Id="rId138" Type="http://schemas.openxmlformats.org/officeDocument/2006/relationships/slideLayout" Target="../slideLayouts/slideLayout165.xml"/><Relationship Id="rId159" Type="http://schemas.openxmlformats.org/officeDocument/2006/relationships/slideLayout" Target="../slideLayouts/slideLayout186.xml"/><Relationship Id="rId170" Type="http://schemas.openxmlformats.org/officeDocument/2006/relationships/slideLayout" Target="../slideLayouts/slideLayout197.xml"/><Relationship Id="rId107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38.xml"/><Relationship Id="rId32" Type="http://schemas.openxmlformats.org/officeDocument/2006/relationships/slideLayout" Target="../slideLayouts/slideLayout59.xml"/><Relationship Id="rId53" Type="http://schemas.openxmlformats.org/officeDocument/2006/relationships/slideLayout" Target="../slideLayouts/slideLayout80.xml"/><Relationship Id="rId74" Type="http://schemas.openxmlformats.org/officeDocument/2006/relationships/slideLayout" Target="../slideLayouts/slideLayout101.xml"/><Relationship Id="rId128" Type="http://schemas.openxmlformats.org/officeDocument/2006/relationships/slideLayout" Target="../slideLayouts/slideLayout155.xml"/><Relationship Id="rId149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32.xml"/><Relationship Id="rId95" Type="http://schemas.openxmlformats.org/officeDocument/2006/relationships/slideLayout" Target="../slideLayouts/slideLayout122.xml"/><Relationship Id="rId160" Type="http://schemas.openxmlformats.org/officeDocument/2006/relationships/slideLayout" Target="../slideLayouts/slideLayout187.xml"/><Relationship Id="rId181" Type="http://schemas.openxmlformats.org/officeDocument/2006/relationships/slideLayout" Target="../slideLayouts/slideLayout208.xml"/><Relationship Id="rId22" Type="http://schemas.openxmlformats.org/officeDocument/2006/relationships/slideLayout" Target="../slideLayouts/slideLayout49.xml"/><Relationship Id="rId43" Type="http://schemas.openxmlformats.org/officeDocument/2006/relationships/slideLayout" Target="../slideLayouts/slideLayout70.xml"/><Relationship Id="rId64" Type="http://schemas.openxmlformats.org/officeDocument/2006/relationships/slideLayout" Target="../slideLayouts/slideLayout91.xml"/><Relationship Id="rId118" Type="http://schemas.openxmlformats.org/officeDocument/2006/relationships/slideLayout" Target="../slideLayouts/slideLayout145.xml"/><Relationship Id="rId139" Type="http://schemas.openxmlformats.org/officeDocument/2006/relationships/slideLayout" Target="../slideLayouts/slideLayout166.xml"/><Relationship Id="rId85" Type="http://schemas.openxmlformats.org/officeDocument/2006/relationships/slideLayout" Target="../slideLayouts/slideLayout112.xml"/><Relationship Id="rId150" Type="http://schemas.openxmlformats.org/officeDocument/2006/relationships/slideLayout" Target="../slideLayouts/slideLayout177.xml"/><Relationship Id="rId171" Type="http://schemas.openxmlformats.org/officeDocument/2006/relationships/slideLayout" Target="../slideLayouts/slideLayout198.xml"/><Relationship Id="rId12" Type="http://schemas.openxmlformats.org/officeDocument/2006/relationships/slideLayout" Target="../slideLayouts/slideLayout39.xml"/><Relationship Id="rId33" Type="http://schemas.openxmlformats.org/officeDocument/2006/relationships/slideLayout" Target="../slideLayouts/slideLayout60.xml"/><Relationship Id="rId108" Type="http://schemas.openxmlformats.org/officeDocument/2006/relationships/slideLayout" Target="../slideLayouts/slideLayout135.xml"/><Relationship Id="rId129" Type="http://schemas.openxmlformats.org/officeDocument/2006/relationships/slideLayout" Target="../slideLayouts/slideLayout156.xml"/><Relationship Id="rId54" Type="http://schemas.openxmlformats.org/officeDocument/2006/relationships/slideLayout" Target="../slideLayouts/slideLayout81.xml"/><Relationship Id="rId75" Type="http://schemas.openxmlformats.org/officeDocument/2006/relationships/slideLayout" Target="../slideLayouts/slideLayout102.xml"/><Relationship Id="rId96" Type="http://schemas.openxmlformats.org/officeDocument/2006/relationships/slideLayout" Target="../slideLayouts/slideLayout123.xml"/><Relationship Id="rId140" Type="http://schemas.openxmlformats.org/officeDocument/2006/relationships/slideLayout" Target="../slideLayouts/slideLayout167.xml"/><Relationship Id="rId161" Type="http://schemas.openxmlformats.org/officeDocument/2006/relationships/slideLayout" Target="../slideLayouts/slideLayout188.xml"/><Relationship Id="rId182" Type="http://schemas.openxmlformats.org/officeDocument/2006/relationships/theme" Target="../theme/theme2.xml"/><Relationship Id="rId6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50.xml"/><Relationship Id="rId119" Type="http://schemas.openxmlformats.org/officeDocument/2006/relationships/slideLayout" Target="../slideLayouts/slideLayout146.xml"/><Relationship Id="rId44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92.xml"/><Relationship Id="rId86" Type="http://schemas.openxmlformats.org/officeDocument/2006/relationships/slideLayout" Target="../slideLayouts/slideLayout113.xml"/><Relationship Id="rId130" Type="http://schemas.openxmlformats.org/officeDocument/2006/relationships/slideLayout" Target="../slideLayouts/slideLayout157.xml"/><Relationship Id="rId151" Type="http://schemas.openxmlformats.org/officeDocument/2006/relationships/slideLayout" Target="../slideLayouts/slideLayout178.xml"/><Relationship Id="rId172" Type="http://schemas.openxmlformats.org/officeDocument/2006/relationships/slideLayout" Target="../slideLayouts/slideLayout199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9" Type="http://schemas.openxmlformats.org/officeDocument/2006/relationships/slideLayout" Target="../slideLayouts/slideLayout66.xml"/><Relationship Id="rId109" Type="http://schemas.openxmlformats.org/officeDocument/2006/relationships/slideLayout" Target="../slideLayouts/slideLayout136.xml"/><Relationship Id="rId34" Type="http://schemas.openxmlformats.org/officeDocument/2006/relationships/slideLayout" Target="../slideLayouts/slideLayout61.xml"/><Relationship Id="rId50" Type="http://schemas.openxmlformats.org/officeDocument/2006/relationships/slideLayout" Target="../slideLayouts/slideLayout77.xml"/><Relationship Id="rId55" Type="http://schemas.openxmlformats.org/officeDocument/2006/relationships/slideLayout" Target="../slideLayouts/slideLayout82.xml"/><Relationship Id="rId76" Type="http://schemas.openxmlformats.org/officeDocument/2006/relationships/slideLayout" Target="../slideLayouts/slideLayout103.xml"/><Relationship Id="rId97" Type="http://schemas.openxmlformats.org/officeDocument/2006/relationships/slideLayout" Target="../slideLayouts/slideLayout124.xml"/><Relationship Id="rId104" Type="http://schemas.openxmlformats.org/officeDocument/2006/relationships/slideLayout" Target="../slideLayouts/slideLayout131.xml"/><Relationship Id="rId120" Type="http://schemas.openxmlformats.org/officeDocument/2006/relationships/slideLayout" Target="../slideLayouts/slideLayout147.xml"/><Relationship Id="rId125" Type="http://schemas.openxmlformats.org/officeDocument/2006/relationships/slideLayout" Target="../slideLayouts/slideLayout152.xml"/><Relationship Id="rId141" Type="http://schemas.openxmlformats.org/officeDocument/2006/relationships/slideLayout" Target="../slideLayouts/slideLayout168.xml"/><Relationship Id="rId146" Type="http://schemas.openxmlformats.org/officeDocument/2006/relationships/slideLayout" Target="../slideLayouts/slideLayout173.xml"/><Relationship Id="rId167" Type="http://schemas.openxmlformats.org/officeDocument/2006/relationships/slideLayout" Target="../slideLayouts/slideLayout194.xml"/><Relationship Id="rId188" Type="http://schemas.openxmlformats.org/officeDocument/2006/relationships/image" Target="../media/image3.png"/><Relationship Id="rId7" Type="http://schemas.openxmlformats.org/officeDocument/2006/relationships/slideLayout" Target="../slideLayouts/slideLayout34.xml"/><Relationship Id="rId71" Type="http://schemas.openxmlformats.org/officeDocument/2006/relationships/slideLayout" Target="../slideLayouts/slideLayout98.xml"/><Relationship Id="rId92" Type="http://schemas.openxmlformats.org/officeDocument/2006/relationships/slideLayout" Target="../slideLayouts/slideLayout119.xml"/><Relationship Id="rId162" Type="http://schemas.openxmlformats.org/officeDocument/2006/relationships/slideLayout" Target="../slideLayouts/slideLayout189.xml"/><Relationship Id="rId183" Type="http://schemas.openxmlformats.org/officeDocument/2006/relationships/tags" Target="../tags/tag1.xml"/><Relationship Id="rId2" Type="http://schemas.openxmlformats.org/officeDocument/2006/relationships/slideLayout" Target="../slideLayouts/slideLayout29.xml"/><Relationship Id="rId29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51.xml"/><Relationship Id="rId40" Type="http://schemas.openxmlformats.org/officeDocument/2006/relationships/slideLayout" Target="../slideLayouts/slideLayout67.xml"/><Relationship Id="rId45" Type="http://schemas.openxmlformats.org/officeDocument/2006/relationships/slideLayout" Target="../slideLayouts/slideLayout72.xml"/><Relationship Id="rId66" Type="http://schemas.openxmlformats.org/officeDocument/2006/relationships/slideLayout" Target="../slideLayouts/slideLayout93.xml"/><Relationship Id="rId87" Type="http://schemas.openxmlformats.org/officeDocument/2006/relationships/slideLayout" Target="../slideLayouts/slideLayout114.xml"/><Relationship Id="rId110" Type="http://schemas.openxmlformats.org/officeDocument/2006/relationships/slideLayout" Target="../slideLayouts/slideLayout137.xml"/><Relationship Id="rId115" Type="http://schemas.openxmlformats.org/officeDocument/2006/relationships/slideLayout" Target="../slideLayouts/slideLayout142.xml"/><Relationship Id="rId131" Type="http://schemas.openxmlformats.org/officeDocument/2006/relationships/slideLayout" Target="../slideLayouts/slideLayout158.xml"/><Relationship Id="rId136" Type="http://schemas.openxmlformats.org/officeDocument/2006/relationships/slideLayout" Target="../slideLayouts/slideLayout163.xml"/><Relationship Id="rId157" Type="http://schemas.openxmlformats.org/officeDocument/2006/relationships/slideLayout" Target="../slideLayouts/slideLayout184.xml"/><Relationship Id="rId178" Type="http://schemas.openxmlformats.org/officeDocument/2006/relationships/slideLayout" Target="../slideLayouts/slideLayout205.xml"/><Relationship Id="rId61" Type="http://schemas.openxmlformats.org/officeDocument/2006/relationships/slideLayout" Target="../slideLayouts/slideLayout88.xml"/><Relationship Id="rId82" Type="http://schemas.openxmlformats.org/officeDocument/2006/relationships/slideLayout" Target="../slideLayouts/slideLayout109.xml"/><Relationship Id="rId152" Type="http://schemas.openxmlformats.org/officeDocument/2006/relationships/slideLayout" Target="../slideLayouts/slideLayout179.xml"/><Relationship Id="rId173" Type="http://schemas.openxmlformats.org/officeDocument/2006/relationships/slideLayout" Target="../slideLayouts/slideLayout200.xml"/><Relationship Id="rId1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57.xml"/><Relationship Id="rId35" Type="http://schemas.openxmlformats.org/officeDocument/2006/relationships/slideLayout" Target="../slideLayouts/slideLayout62.xml"/><Relationship Id="rId56" Type="http://schemas.openxmlformats.org/officeDocument/2006/relationships/slideLayout" Target="../slideLayouts/slideLayout83.xml"/><Relationship Id="rId77" Type="http://schemas.openxmlformats.org/officeDocument/2006/relationships/slideLayout" Target="../slideLayouts/slideLayout104.xml"/><Relationship Id="rId100" Type="http://schemas.openxmlformats.org/officeDocument/2006/relationships/slideLayout" Target="../slideLayouts/slideLayout127.xml"/><Relationship Id="rId105" Type="http://schemas.openxmlformats.org/officeDocument/2006/relationships/slideLayout" Target="../slideLayouts/slideLayout132.xml"/><Relationship Id="rId126" Type="http://schemas.openxmlformats.org/officeDocument/2006/relationships/slideLayout" Target="../slideLayouts/slideLayout153.xml"/><Relationship Id="rId147" Type="http://schemas.openxmlformats.org/officeDocument/2006/relationships/slideLayout" Target="../slideLayouts/slideLayout174.xml"/><Relationship Id="rId168" Type="http://schemas.openxmlformats.org/officeDocument/2006/relationships/slideLayout" Target="../slideLayouts/slideLayout195.xml"/><Relationship Id="rId8" Type="http://schemas.openxmlformats.org/officeDocument/2006/relationships/slideLayout" Target="../slideLayouts/slideLayout35.xml"/><Relationship Id="rId51" Type="http://schemas.openxmlformats.org/officeDocument/2006/relationships/slideLayout" Target="../slideLayouts/slideLayout78.xml"/><Relationship Id="rId72" Type="http://schemas.openxmlformats.org/officeDocument/2006/relationships/slideLayout" Target="../slideLayouts/slideLayout99.xml"/><Relationship Id="rId93" Type="http://schemas.openxmlformats.org/officeDocument/2006/relationships/slideLayout" Target="../slideLayouts/slideLayout120.xml"/><Relationship Id="rId98" Type="http://schemas.openxmlformats.org/officeDocument/2006/relationships/slideLayout" Target="../slideLayouts/slideLayout125.xml"/><Relationship Id="rId121" Type="http://schemas.openxmlformats.org/officeDocument/2006/relationships/slideLayout" Target="../slideLayouts/slideLayout148.xml"/><Relationship Id="rId142" Type="http://schemas.openxmlformats.org/officeDocument/2006/relationships/slideLayout" Target="../slideLayouts/slideLayout169.xml"/><Relationship Id="rId163" Type="http://schemas.openxmlformats.org/officeDocument/2006/relationships/slideLayout" Target="../slideLayouts/slideLayout190.xml"/><Relationship Id="rId184" Type="http://schemas.openxmlformats.org/officeDocument/2006/relationships/oleObject" Target="../embeddings/oleObject1.bin"/><Relationship Id="rId189" Type="http://schemas.openxmlformats.org/officeDocument/2006/relationships/image" Target="../media/image4.png"/><Relationship Id="rId3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52.xml"/><Relationship Id="rId46" Type="http://schemas.openxmlformats.org/officeDocument/2006/relationships/slideLayout" Target="../slideLayouts/slideLayout73.xml"/><Relationship Id="rId67" Type="http://schemas.openxmlformats.org/officeDocument/2006/relationships/slideLayout" Target="../slideLayouts/slideLayout94.xml"/><Relationship Id="rId116" Type="http://schemas.openxmlformats.org/officeDocument/2006/relationships/slideLayout" Target="../slideLayouts/slideLayout143.xml"/><Relationship Id="rId137" Type="http://schemas.openxmlformats.org/officeDocument/2006/relationships/slideLayout" Target="../slideLayouts/slideLayout164.xml"/><Relationship Id="rId158" Type="http://schemas.openxmlformats.org/officeDocument/2006/relationships/slideLayout" Target="../slideLayouts/slideLayout185.xml"/><Relationship Id="rId20" Type="http://schemas.openxmlformats.org/officeDocument/2006/relationships/slideLayout" Target="../slideLayouts/slideLayout47.xml"/><Relationship Id="rId41" Type="http://schemas.openxmlformats.org/officeDocument/2006/relationships/slideLayout" Target="../slideLayouts/slideLayout68.xml"/><Relationship Id="rId62" Type="http://schemas.openxmlformats.org/officeDocument/2006/relationships/slideLayout" Target="../slideLayouts/slideLayout89.xml"/><Relationship Id="rId83" Type="http://schemas.openxmlformats.org/officeDocument/2006/relationships/slideLayout" Target="../slideLayouts/slideLayout110.xml"/><Relationship Id="rId88" Type="http://schemas.openxmlformats.org/officeDocument/2006/relationships/slideLayout" Target="../slideLayouts/slideLayout115.xml"/><Relationship Id="rId111" Type="http://schemas.openxmlformats.org/officeDocument/2006/relationships/slideLayout" Target="../slideLayouts/slideLayout138.xml"/><Relationship Id="rId132" Type="http://schemas.openxmlformats.org/officeDocument/2006/relationships/slideLayout" Target="../slideLayouts/slideLayout159.xml"/><Relationship Id="rId153" Type="http://schemas.openxmlformats.org/officeDocument/2006/relationships/slideLayout" Target="../slideLayouts/slideLayout180.xml"/><Relationship Id="rId174" Type="http://schemas.openxmlformats.org/officeDocument/2006/relationships/slideLayout" Target="../slideLayouts/slideLayout201.xml"/><Relationship Id="rId179" Type="http://schemas.openxmlformats.org/officeDocument/2006/relationships/slideLayout" Target="../slideLayouts/slideLayout206.xml"/><Relationship Id="rId15" Type="http://schemas.openxmlformats.org/officeDocument/2006/relationships/slideLayout" Target="../slideLayouts/slideLayout42.xml"/><Relationship Id="rId36" Type="http://schemas.openxmlformats.org/officeDocument/2006/relationships/slideLayout" Target="../slideLayouts/slideLayout63.xml"/><Relationship Id="rId57" Type="http://schemas.openxmlformats.org/officeDocument/2006/relationships/slideLayout" Target="../slideLayouts/slideLayout84.xml"/><Relationship Id="rId106" Type="http://schemas.openxmlformats.org/officeDocument/2006/relationships/slideLayout" Target="../slideLayouts/slideLayout133.xml"/><Relationship Id="rId127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37.xml"/><Relationship Id="rId31" Type="http://schemas.openxmlformats.org/officeDocument/2006/relationships/slideLayout" Target="../slideLayouts/slideLayout58.xml"/><Relationship Id="rId52" Type="http://schemas.openxmlformats.org/officeDocument/2006/relationships/slideLayout" Target="../slideLayouts/slideLayout79.xml"/><Relationship Id="rId73" Type="http://schemas.openxmlformats.org/officeDocument/2006/relationships/slideLayout" Target="../slideLayouts/slideLayout100.xml"/><Relationship Id="rId78" Type="http://schemas.openxmlformats.org/officeDocument/2006/relationships/slideLayout" Target="../slideLayouts/slideLayout105.xml"/><Relationship Id="rId94" Type="http://schemas.openxmlformats.org/officeDocument/2006/relationships/slideLayout" Target="../slideLayouts/slideLayout121.xml"/><Relationship Id="rId99" Type="http://schemas.openxmlformats.org/officeDocument/2006/relationships/slideLayout" Target="../slideLayouts/slideLayout126.xml"/><Relationship Id="rId101" Type="http://schemas.openxmlformats.org/officeDocument/2006/relationships/slideLayout" Target="../slideLayouts/slideLayout128.xml"/><Relationship Id="rId122" Type="http://schemas.openxmlformats.org/officeDocument/2006/relationships/slideLayout" Target="../slideLayouts/slideLayout149.xml"/><Relationship Id="rId143" Type="http://schemas.openxmlformats.org/officeDocument/2006/relationships/slideLayout" Target="../slideLayouts/slideLayout170.xml"/><Relationship Id="rId148" Type="http://schemas.openxmlformats.org/officeDocument/2006/relationships/slideLayout" Target="../slideLayouts/slideLayout175.xml"/><Relationship Id="rId164" Type="http://schemas.openxmlformats.org/officeDocument/2006/relationships/slideLayout" Target="../slideLayouts/slideLayout191.xml"/><Relationship Id="rId169" Type="http://schemas.openxmlformats.org/officeDocument/2006/relationships/slideLayout" Target="../slideLayouts/slideLayout196.xml"/><Relationship Id="rId185" Type="http://schemas.openxmlformats.org/officeDocument/2006/relationships/image" Target="../media/image21.emf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80" Type="http://schemas.openxmlformats.org/officeDocument/2006/relationships/slideLayout" Target="../slideLayouts/slideLayout207.xml"/><Relationship Id="rId26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74.xml"/><Relationship Id="rId68" Type="http://schemas.openxmlformats.org/officeDocument/2006/relationships/slideLayout" Target="../slideLayouts/slideLayout95.xml"/><Relationship Id="rId89" Type="http://schemas.openxmlformats.org/officeDocument/2006/relationships/slideLayout" Target="../slideLayouts/slideLayout116.xml"/><Relationship Id="rId112" Type="http://schemas.openxmlformats.org/officeDocument/2006/relationships/slideLayout" Target="../slideLayouts/slideLayout139.xml"/><Relationship Id="rId133" Type="http://schemas.openxmlformats.org/officeDocument/2006/relationships/slideLayout" Target="../slideLayouts/slideLayout160.xml"/><Relationship Id="rId154" Type="http://schemas.openxmlformats.org/officeDocument/2006/relationships/slideLayout" Target="../slideLayouts/slideLayout181.xml"/><Relationship Id="rId175" Type="http://schemas.openxmlformats.org/officeDocument/2006/relationships/slideLayout" Target="../slideLayouts/slideLayout202.xml"/><Relationship Id="rId16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85.xml"/><Relationship Id="rId79" Type="http://schemas.openxmlformats.org/officeDocument/2006/relationships/slideLayout" Target="../slideLayouts/slideLayout106.xml"/><Relationship Id="rId102" Type="http://schemas.openxmlformats.org/officeDocument/2006/relationships/slideLayout" Target="../slideLayouts/slideLayout129.xml"/><Relationship Id="rId123" Type="http://schemas.openxmlformats.org/officeDocument/2006/relationships/slideLayout" Target="../slideLayouts/slideLayout150.xml"/><Relationship Id="rId144" Type="http://schemas.openxmlformats.org/officeDocument/2006/relationships/slideLayout" Target="../slideLayouts/slideLayout171.xml"/><Relationship Id="rId90" Type="http://schemas.openxmlformats.org/officeDocument/2006/relationships/slideLayout" Target="../slideLayouts/slideLayout117.xml"/><Relationship Id="rId165" Type="http://schemas.openxmlformats.org/officeDocument/2006/relationships/slideLayout" Target="../slideLayouts/slideLayout192.xml"/><Relationship Id="rId186" Type="http://schemas.openxmlformats.org/officeDocument/2006/relationships/image" Target="../media/image1.png"/><Relationship Id="rId27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75.xml"/><Relationship Id="rId69" Type="http://schemas.openxmlformats.org/officeDocument/2006/relationships/slideLayout" Target="../slideLayouts/slideLayout96.xml"/><Relationship Id="rId113" Type="http://schemas.openxmlformats.org/officeDocument/2006/relationships/slideLayout" Target="../slideLayouts/slideLayout140.xml"/><Relationship Id="rId134" Type="http://schemas.openxmlformats.org/officeDocument/2006/relationships/slideLayout" Target="../slideLayouts/slideLayout161.xml"/><Relationship Id="rId80" Type="http://schemas.openxmlformats.org/officeDocument/2006/relationships/slideLayout" Target="../slideLayouts/slideLayout107.xml"/><Relationship Id="rId155" Type="http://schemas.openxmlformats.org/officeDocument/2006/relationships/slideLayout" Target="../slideLayouts/slideLayout182.xml"/><Relationship Id="rId176" Type="http://schemas.openxmlformats.org/officeDocument/2006/relationships/slideLayout" Target="../slideLayouts/slideLayout203.xml"/><Relationship Id="rId17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65.xml"/><Relationship Id="rId59" Type="http://schemas.openxmlformats.org/officeDocument/2006/relationships/slideLayout" Target="../slideLayouts/slideLayout86.xml"/><Relationship Id="rId103" Type="http://schemas.openxmlformats.org/officeDocument/2006/relationships/slideLayout" Target="../slideLayouts/slideLayout130.xml"/><Relationship Id="rId124" Type="http://schemas.openxmlformats.org/officeDocument/2006/relationships/slideLayout" Target="../slideLayouts/slideLayout151.xml"/><Relationship Id="rId70" Type="http://schemas.openxmlformats.org/officeDocument/2006/relationships/slideLayout" Target="../slideLayouts/slideLayout97.xml"/><Relationship Id="rId91" Type="http://schemas.openxmlformats.org/officeDocument/2006/relationships/slideLayout" Target="../slideLayouts/slideLayout118.xml"/><Relationship Id="rId145" Type="http://schemas.openxmlformats.org/officeDocument/2006/relationships/slideLayout" Target="../slideLayouts/slideLayout172.xml"/><Relationship Id="rId166" Type="http://schemas.openxmlformats.org/officeDocument/2006/relationships/slideLayout" Target="../slideLayouts/slideLayout193.xml"/><Relationship Id="rId187" Type="http://schemas.openxmlformats.org/officeDocument/2006/relationships/image" Target="../media/image2.png"/><Relationship Id="rId1" Type="http://schemas.openxmlformats.org/officeDocument/2006/relationships/slideLayout" Target="../slideLayouts/slideLayout28.xml"/><Relationship Id="rId28" Type="http://schemas.openxmlformats.org/officeDocument/2006/relationships/slideLayout" Target="../slideLayouts/slideLayout55.xml"/><Relationship Id="rId49" Type="http://schemas.openxmlformats.org/officeDocument/2006/relationships/slideLayout" Target="../slideLayouts/slideLayout76.xml"/><Relationship Id="rId114" Type="http://schemas.openxmlformats.org/officeDocument/2006/relationships/slideLayout" Target="../slideLayouts/slideLayout141.xml"/><Relationship Id="rId60" Type="http://schemas.openxmlformats.org/officeDocument/2006/relationships/slideLayout" Target="../slideLayouts/slideLayout87.xml"/><Relationship Id="rId81" Type="http://schemas.openxmlformats.org/officeDocument/2006/relationships/slideLayout" Target="../slideLayouts/slideLayout108.xml"/><Relationship Id="rId135" Type="http://schemas.openxmlformats.org/officeDocument/2006/relationships/slideLayout" Target="../slideLayouts/slideLayout162.xml"/><Relationship Id="rId156" Type="http://schemas.openxmlformats.org/officeDocument/2006/relationships/slideLayout" Target="../slideLayouts/slideLayout183.xml"/><Relationship Id="rId177" Type="http://schemas.openxmlformats.org/officeDocument/2006/relationships/slideLayout" Target="../slideLayouts/slideLayout20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1296000" y="567000"/>
            <a:ext cx="7416000" cy="837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7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3050875" y="4754700"/>
            <a:ext cx="900000" cy="27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FlandersArtSans-Regular" panose="00000500000000000000" pitchFamily="2" charset="0"/>
              </a:defRPr>
            </a:lvl1pPr>
          </a:lstStyle>
          <a:p>
            <a:fld id="{FD6BEBD5-99F3-4C1B-B5AF-C9279F4847C2}" type="datetimeFigureOut">
              <a:rPr lang="nl-BE" smtClean="0"/>
              <a:pPr/>
              <a:t>8/07/2024</a:t>
            </a:fld>
            <a:endParaRPr lang="nl-BE"/>
          </a:p>
        </p:txBody>
      </p:sp>
      <p:sp>
        <p:nvSpPr>
          <p:cNvPr id="8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993393" y="4754700"/>
            <a:ext cx="1890000" cy="27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FlandersArtSans-Regular" panose="00000500000000000000" pitchFamily="2" charset="0"/>
              </a:defRPr>
            </a:lvl1pPr>
          </a:lstStyle>
          <a:p>
            <a:endParaRPr lang="nl-BE"/>
          </a:p>
        </p:txBody>
      </p:sp>
      <p:sp>
        <p:nvSpPr>
          <p:cNvPr id="9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5944611" y="4754700"/>
            <a:ext cx="540000" cy="27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25">
                <a:solidFill>
                  <a:schemeClr val="tx1">
                    <a:tint val="75000"/>
                  </a:schemeClr>
                </a:solidFill>
                <a:latin typeface="FlandersArtSans-Regular" panose="00000500000000000000" pitchFamily="2" charset="0"/>
              </a:defRPr>
            </a:lvl1pPr>
          </a:lstStyle>
          <a:p>
            <a:fld id="{492AD3B4-D906-4191-84FB-4FE613E48036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296000" y="1436400"/>
            <a:ext cx="7444800" cy="3264300"/>
          </a:xfrm>
          <a:prstGeom prst="rect">
            <a:avLst/>
          </a:prstGeom>
        </p:spPr>
        <p:txBody>
          <a:bodyPr vert="horz" lIns="0" tIns="0" rIns="0" bIns="45720" rtlCol="0">
            <a:noAutofit/>
          </a:bodyPr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 </a:t>
            </a:r>
            <a:endParaRPr lang="nl-BE"/>
          </a:p>
          <a:p>
            <a:pPr lvl="4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41548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9" r:id="rId10"/>
    <p:sldLayoutId id="2147483793" r:id="rId11"/>
    <p:sldLayoutId id="2147483761" r:id="rId12"/>
    <p:sldLayoutId id="2147483760" r:id="rId13"/>
    <p:sldLayoutId id="2147483763" r:id="rId14"/>
    <p:sldLayoutId id="2147483773" r:id="rId15"/>
    <p:sldLayoutId id="2147483771" r:id="rId16"/>
    <p:sldLayoutId id="2147483772" r:id="rId17"/>
    <p:sldLayoutId id="2147483765" r:id="rId18"/>
    <p:sldLayoutId id="2147483774" r:id="rId19"/>
    <p:sldLayoutId id="2147483775" r:id="rId20"/>
    <p:sldLayoutId id="2147483766" r:id="rId21"/>
    <p:sldLayoutId id="2147483767" r:id="rId22"/>
    <p:sldLayoutId id="2147483759" r:id="rId23"/>
    <p:sldLayoutId id="2147483768" r:id="rId24"/>
    <p:sldLayoutId id="2147483776" r:id="rId25"/>
    <p:sldLayoutId id="2147483777" r:id="rId26"/>
    <p:sldLayoutId id="2147483976" r:id="rId27"/>
  </p:sldLayoutIdLst>
  <p:txStyles>
    <p:titleStyle>
      <a:lvl1pPr algn="l" defTabSz="685800" rtl="0" eaLnBrk="1" latinLnBrk="0" hangingPunct="1">
        <a:lnSpc>
          <a:spcPts val="2850"/>
        </a:lnSpc>
        <a:spcBef>
          <a:spcPct val="0"/>
        </a:spcBef>
        <a:buNone/>
        <a:defRPr sz="27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0" marR="0" indent="-216000" algn="l" defTabSz="685800" rtl="0" eaLnBrk="1" fontAlgn="auto" latinLnBrk="0" hangingPunct="1">
        <a:lnSpc>
          <a:spcPct val="120000"/>
        </a:lnSpc>
        <a:spcBef>
          <a:spcPts val="225"/>
        </a:spcBef>
        <a:spcAft>
          <a:spcPts val="0"/>
        </a:spcAft>
        <a:buClrTx/>
        <a:buSzPct val="90000"/>
        <a:buFontTx/>
        <a:buBlip>
          <a:blip r:embed="rId29"/>
        </a:buBlip>
        <a:tabLst/>
        <a:defRPr sz="1650" kern="1200" spc="0" baseline="0">
          <a:solidFill>
            <a:schemeClr val="tx1"/>
          </a:solidFill>
          <a:latin typeface="FlandersArtSans-Regular" panose="00000500000000000000" pitchFamily="2" charset="0"/>
          <a:ea typeface="+mn-ea"/>
          <a:cs typeface="Calibri"/>
        </a:defRPr>
      </a:lvl1pPr>
      <a:lvl2pPr marL="432000" marR="0" indent="-216000" algn="l" defTabSz="685800" rtl="0" eaLnBrk="1" fontAlgn="auto" latinLnBrk="0" hangingPunct="1">
        <a:lnSpc>
          <a:spcPct val="120000"/>
        </a:lnSpc>
        <a:spcBef>
          <a:spcPts val="225"/>
        </a:spcBef>
        <a:spcAft>
          <a:spcPts val="0"/>
        </a:spcAft>
        <a:buClrTx/>
        <a:buSzPct val="75000"/>
        <a:buFontTx/>
        <a:buBlip>
          <a:blip r:embed="rId30"/>
        </a:buBlip>
        <a:tabLst/>
        <a:defRPr sz="1650" kern="1200" spc="0" baseline="0">
          <a:solidFill>
            <a:srgbClr val="9B9B9B"/>
          </a:solidFill>
          <a:latin typeface="FlandersArtSans-Regular" panose="00000500000000000000" pitchFamily="2" charset="0"/>
          <a:ea typeface="+mn-ea"/>
          <a:cs typeface="Calibri"/>
        </a:defRPr>
      </a:lvl2pPr>
      <a:lvl3pPr marL="648000" marR="0" indent="-216000" algn="l" defTabSz="685800" rtl="0" eaLnBrk="1" fontAlgn="auto" latinLnBrk="0" hangingPunct="1">
        <a:lnSpc>
          <a:spcPct val="120000"/>
        </a:lnSpc>
        <a:spcBef>
          <a:spcPts val="225"/>
        </a:spcBef>
        <a:spcAft>
          <a:spcPts val="0"/>
        </a:spcAft>
        <a:buClrTx/>
        <a:buSzPct val="85000"/>
        <a:buFontTx/>
        <a:buBlip>
          <a:blip r:embed="rId31"/>
        </a:buBlip>
        <a:tabLst/>
        <a:defRPr sz="1500" kern="1200" spc="0" baseline="0">
          <a:solidFill>
            <a:schemeClr val="tx1"/>
          </a:solidFill>
          <a:latin typeface="FlandersArtSans-Regular" panose="00000500000000000000" pitchFamily="2" charset="0"/>
          <a:ea typeface="+mn-ea"/>
          <a:cs typeface="Calibri"/>
        </a:defRPr>
      </a:lvl3pPr>
      <a:lvl4pPr marL="864000" marR="0" indent="-216000" algn="l" defTabSz="685800" rtl="0" eaLnBrk="1" fontAlgn="auto" latinLnBrk="0" hangingPunct="1">
        <a:lnSpc>
          <a:spcPct val="120000"/>
        </a:lnSpc>
        <a:spcBef>
          <a:spcPts val="225"/>
        </a:spcBef>
        <a:spcAft>
          <a:spcPts val="0"/>
        </a:spcAft>
        <a:buClrTx/>
        <a:buSzPct val="75000"/>
        <a:buFontTx/>
        <a:buBlip>
          <a:blip r:embed="rId32"/>
        </a:buBlip>
        <a:tabLst/>
        <a:defRPr sz="1500" kern="1200" spc="0" baseline="0">
          <a:solidFill>
            <a:schemeClr val="tx1"/>
          </a:solidFill>
          <a:latin typeface="FlandersArtSans-Regular" panose="00000500000000000000" pitchFamily="2" charset="0"/>
          <a:ea typeface="+mn-ea"/>
          <a:cs typeface="Calibri"/>
        </a:defRPr>
      </a:lvl4pPr>
      <a:lvl5pPr marL="1080000" marR="0" indent="-216000" algn="l" defTabSz="685800" rtl="0" eaLnBrk="1" fontAlgn="auto" latinLnBrk="0" hangingPunct="1">
        <a:lnSpc>
          <a:spcPct val="120000"/>
        </a:lnSpc>
        <a:spcBef>
          <a:spcPts val="225"/>
        </a:spcBef>
        <a:spcAft>
          <a:spcPts val="0"/>
        </a:spcAft>
        <a:buClrTx/>
        <a:buSzPct val="90000"/>
        <a:buFontTx/>
        <a:buBlip>
          <a:blip r:embed="rId29"/>
        </a:buBlip>
        <a:tabLst/>
        <a:defRPr sz="1500" kern="1200" spc="0" baseline="0">
          <a:solidFill>
            <a:schemeClr val="tx1"/>
          </a:solidFill>
          <a:latin typeface="FlandersArtSans-Regular" panose="00000500000000000000" pitchFamily="2" charset="0"/>
          <a:ea typeface="+mn-ea"/>
          <a:cs typeface="Calibri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C311853-81A8-4F44-B6DE-DEDE460704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3"/>
            </p:custDataLst>
            <p:extLst>
              <p:ext uri="{D42A27DB-BD31-4B8C-83A1-F6EECF244321}">
                <p14:modId xmlns:p14="http://schemas.microsoft.com/office/powerpoint/2010/main" val="393130203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4" imgW="592" imgH="595" progId="TCLayout.ActiveDocument.1">
                  <p:embed/>
                </p:oleObj>
              </mc:Choice>
              <mc:Fallback>
                <p:oleObj name="think-cell Slide" r:id="rId184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C311853-81A8-4F44-B6DE-DEDE460704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1296000" y="567000"/>
            <a:ext cx="7416000" cy="837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296000" y="1436400"/>
            <a:ext cx="7444800" cy="3264300"/>
          </a:xfrm>
          <a:prstGeom prst="rect">
            <a:avLst/>
          </a:prstGeom>
        </p:spPr>
        <p:txBody>
          <a:bodyPr vert="horz" lIns="0" tIns="0" rIns="0" bIns="45720" rtlCol="0">
            <a:noAutofit/>
          </a:bodyPr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 </a:t>
            </a:r>
            <a:endParaRPr lang="nl-BE"/>
          </a:p>
          <a:p>
            <a:pPr lvl="4"/>
            <a:endParaRPr lang="nl-BE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F2B3210-2A62-4CB0-861D-4BA1155ED179}"/>
              </a:ext>
            </a:extLst>
          </p:cNvPr>
          <p:cNvSpPr txBox="1"/>
          <p:nvPr userDrawn="1"/>
        </p:nvSpPr>
        <p:spPr>
          <a:xfrm>
            <a:off x="8558216" y="4857750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nr.›</a:t>
            </a:fld>
            <a:endParaRPr lang="en-US" sz="488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265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  <p:sldLayoutId id="2147483812" r:id="rId18"/>
    <p:sldLayoutId id="2147483813" r:id="rId19"/>
    <p:sldLayoutId id="2147483814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3820" r:id="rId26"/>
    <p:sldLayoutId id="2147483821" r:id="rId27"/>
    <p:sldLayoutId id="2147483822" r:id="rId28"/>
    <p:sldLayoutId id="2147483823" r:id="rId29"/>
    <p:sldLayoutId id="2147483824" r:id="rId30"/>
    <p:sldLayoutId id="2147483825" r:id="rId31"/>
    <p:sldLayoutId id="2147483826" r:id="rId32"/>
    <p:sldLayoutId id="2147483827" r:id="rId33"/>
    <p:sldLayoutId id="2147483828" r:id="rId34"/>
    <p:sldLayoutId id="2147483829" r:id="rId35"/>
    <p:sldLayoutId id="2147483830" r:id="rId36"/>
    <p:sldLayoutId id="2147483831" r:id="rId37"/>
    <p:sldLayoutId id="2147483832" r:id="rId38"/>
    <p:sldLayoutId id="2147483833" r:id="rId39"/>
    <p:sldLayoutId id="2147483834" r:id="rId40"/>
    <p:sldLayoutId id="2147483835" r:id="rId41"/>
    <p:sldLayoutId id="2147483836" r:id="rId42"/>
    <p:sldLayoutId id="2147483837" r:id="rId43"/>
    <p:sldLayoutId id="2147483838" r:id="rId44"/>
    <p:sldLayoutId id="2147483839" r:id="rId45"/>
    <p:sldLayoutId id="2147483840" r:id="rId46"/>
    <p:sldLayoutId id="2147483841" r:id="rId47"/>
    <p:sldLayoutId id="2147483842" r:id="rId48"/>
    <p:sldLayoutId id="2147483843" r:id="rId49"/>
    <p:sldLayoutId id="2147483844" r:id="rId50"/>
    <p:sldLayoutId id="2147483845" r:id="rId51"/>
    <p:sldLayoutId id="2147483846" r:id="rId52"/>
    <p:sldLayoutId id="2147483847" r:id="rId53"/>
    <p:sldLayoutId id="2147483848" r:id="rId54"/>
    <p:sldLayoutId id="2147483849" r:id="rId55"/>
    <p:sldLayoutId id="2147483850" r:id="rId56"/>
    <p:sldLayoutId id="2147483851" r:id="rId57"/>
    <p:sldLayoutId id="2147483852" r:id="rId58"/>
    <p:sldLayoutId id="2147483853" r:id="rId59"/>
    <p:sldLayoutId id="2147483854" r:id="rId60"/>
    <p:sldLayoutId id="2147483855" r:id="rId61"/>
    <p:sldLayoutId id="2147483856" r:id="rId62"/>
    <p:sldLayoutId id="2147483857" r:id="rId63"/>
    <p:sldLayoutId id="2147483858" r:id="rId64"/>
    <p:sldLayoutId id="2147483859" r:id="rId65"/>
    <p:sldLayoutId id="2147483860" r:id="rId66"/>
    <p:sldLayoutId id="2147483861" r:id="rId67"/>
    <p:sldLayoutId id="2147483862" r:id="rId68"/>
    <p:sldLayoutId id="2147483863" r:id="rId69"/>
    <p:sldLayoutId id="2147483864" r:id="rId70"/>
    <p:sldLayoutId id="2147483865" r:id="rId71"/>
    <p:sldLayoutId id="2147483866" r:id="rId72"/>
    <p:sldLayoutId id="2147483867" r:id="rId73"/>
    <p:sldLayoutId id="2147483868" r:id="rId74"/>
    <p:sldLayoutId id="2147483869" r:id="rId75"/>
    <p:sldLayoutId id="2147483870" r:id="rId76"/>
    <p:sldLayoutId id="2147483871" r:id="rId77"/>
    <p:sldLayoutId id="2147483872" r:id="rId78"/>
    <p:sldLayoutId id="2147483873" r:id="rId79"/>
    <p:sldLayoutId id="2147483874" r:id="rId80"/>
    <p:sldLayoutId id="2147483875" r:id="rId81"/>
    <p:sldLayoutId id="2147483876" r:id="rId82"/>
    <p:sldLayoutId id="2147483877" r:id="rId83"/>
    <p:sldLayoutId id="2147483878" r:id="rId84"/>
    <p:sldLayoutId id="2147483879" r:id="rId85"/>
    <p:sldLayoutId id="2147483880" r:id="rId86"/>
    <p:sldLayoutId id="2147483881" r:id="rId87"/>
    <p:sldLayoutId id="2147483882" r:id="rId88"/>
    <p:sldLayoutId id="2147483883" r:id="rId89"/>
    <p:sldLayoutId id="2147483884" r:id="rId90"/>
    <p:sldLayoutId id="2147483885" r:id="rId91"/>
    <p:sldLayoutId id="2147483886" r:id="rId92"/>
    <p:sldLayoutId id="2147483887" r:id="rId93"/>
    <p:sldLayoutId id="2147483888" r:id="rId94"/>
    <p:sldLayoutId id="2147483889" r:id="rId95"/>
    <p:sldLayoutId id="2147483890" r:id="rId96"/>
    <p:sldLayoutId id="2147483891" r:id="rId97"/>
    <p:sldLayoutId id="2147483892" r:id="rId98"/>
    <p:sldLayoutId id="2147483893" r:id="rId99"/>
    <p:sldLayoutId id="2147483894" r:id="rId100"/>
    <p:sldLayoutId id="2147483895" r:id="rId101"/>
    <p:sldLayoutId id="2147483896" r:id="rId102"/>
    <p:sldLayoutId id="2147483897" r:id="rId103"/>
    <p:sldLayoutId id="2147483898" r:id="rId104"/>
    <p:sldLayoutId id="2147483899" r:id="rId105"/>
    <p:sldLayoutId id="2147483900" r:id="rId106"/>
    <p:sldLayoutId id="2147483901" r:id="rId107"/>
    <p:sldLayoutId id="2147483902" r:id="rId108"/>
    <p:sldLayoutId id="2147483903" r:id="rId109"/>
    <p:sldLayoutId id="2147483904" r:id="rId110"/>
    <p:sldLayoutId id="2147483905" r:id="rId111"/>
    <p:sldLayoutId id="2147483906" r:id="rId112"/>
    <p:sldLayoutId id="2147483907" r:id="rId113"/>
    <p:sldLayoutId id="2147483908" r:id="rId114"/>
    <p:sldLayoutId id="2147483909" r:id="rId115"/>
    <p:sldLayoutId id="2147483910" r:id="rId116"/>
    <p:sldLayoutId id="2147483911" r:id="rId117"/>
    <p:sldLayoutId id="2147483912" r:id="rId118"/>
    <p:sldLayoutId id="2147483913" r:id="rId119"/>
    <p:sldLayoutId id="2147483914" r:id="rId120"/>
    <p:sldLayoutId id="2147483915" r:id="rId121"/>
    <p:sldLayoutId id="2147483916" r:id="rId122"/>
    <p:sldLayoutId id="2147483917" r:id="rId123"/>
    <p:sldLayoutId id="2147483918" r:id="rId124"/>
    <p:sldLayoutId id="2147483919" r:id="rId125"/>
    <p:sldLayoutId id="2147483920" r:id="rId126"/>
    <p:sldLayoutId id="2147483921" r:id="rId127"/>
    <p:sldLayoutId id="2147483922" r:id="rId128"/>
    <p:sldLayoutId id="2147483923" r:id="rId129"/>
    <p:sldLayoutId id="2147483924" r:id="rId130"/>
    <p:sldLayoutId id="2147483925" r:id="rId131"/>
    <p:sldLayoutId id="2147483926" r:id="rId132"/>
    <p:sldLayoutId id="2147483927" r:id="rId133"/>
    <p:sldLayoutId id="2147483928" r:id="rId134"/>
    <p:sldLayoutId id="2147483929" r:id="rId135"/>
    <p:sldLayoutId id="2147483930" r:id="rId136"/>
    <p:sldLayoutId id="2147483931" r:id="rId137"/>
    <p:sldLayoutId id="2147483932" r:id="rId138"/>
    <p:sldLayoutId id="2147483933" r:id="rId139"/>
    <p:sldLayoutId id="2147483934" r:id="rId140"/>
    <p:sldLayoutId id="2147483935" r:id="rId141"/>
    <p:sldLayoutId id="2147483936" r:id="rId142"/>
    <p:sldLayoutId id="2147483937" r:id="rId143"/>
    <p:sldLayoutId id="2147483938" r:id="rId144"/>
    <p:sldLayoutId id="2147483939" r:id="rId145"/>
    <p:sldLayoutId id="2147483940" r:id="rId146"/>
    <p:sldLayoutId id="2147483941" r:id="rId147"/>
    <p:sldLayoutId id="2147483942" r:id="rId148"/>
    <p:sldLayoutId id="2147483943" r:id="rId149"/>
    <p:sldLayoutId id="2147483944" r:id="rId150"/>
    <p:sldLayoutId id="2147483945" r:id="rId151"/>
    <p:sldLayoutId id="2147483946" r:id="rId152"/>
    <p:sldLayoutId id="2147483947" r:id="rId153"/>
    <p:sldLayoutId id="2147483948" r:id="rId154"/>
    <p:sldLayoutId id="2147483949" r:id="rId155"/>
    <p:sldLayoutId id="2147483950" r:id="rId156"/>
    <p:sldLayoutId id="2147483951" r:id="rId157"/>
    <p:sldLayoutId id="2147483952" r:id="rId158"/>
    <p:sldLayoutId id="2147483953" r:id="rId159"/>
    <p:sldLayoutId id="2147483954" r:id="rId160"/>
    <p:sldLayoutId id="2147483955" r:id="rId161"/>
    <p:sldLayoutId id="2147483956" r:id="rId162"/>
    <p:sldLayoutId id="2147483957" r:id="rId163"/>
    <p:sldLayoutId id="2147483958" r:id="rId164"/>
    <p:sldLayoutId id="2147483959" r:id="rId165"/>
    <p:sldLayoutId id="2147483960" r:id="rId166"/>
    <p:sldLayoutId id="2147483961" r:id="rId167"/>
    <p:sldLayoutId id="2147483962" r:id="rId168"/>
    <p:sldLayoutId id="2147483963" r:id="rId169"/>
    <p:sldLayoutId id="2147483964" r:id="rId170"/>
    <p:sldLayoutId id="2147483965" r:id="rId171"/>
    <p:sldLayoutId id="2147483966" r:id="rId172"/>
    <p:sldLayoutId id="2147483967" r:id="rId173"/>
    <p:sldLayoutId id="2147483968" r:id="rId174"/>
    <p:sldLayoutId id="2147483969" r:id="rId175"/>
    <p:sldLayoutId id="2147483970" r:id="rId176"/>
    <p:sldLayoutId id="2147483971" r:id="rId177"/>
    <p:sldLayoutId id="2147483972" r:id="rId178"/>
    <p:sldLayoutId id="2147483973" r:id="rId179"/>
    <p:sldLayoutId id="2147483974" r:id="rId180"/>
    <p:sldLayoutId id="2147483975" r:id="rId181"/>
  </p:sldLayoutIdLst>
  <p:txStyles>
    <p:titleStyle>
      <a:lvl1pPr algn="l" defTabSz="685783" rtl="0" eaLnBrk="1" latinLnBrk="0" hangingPunct="1">
        <a:lnSpc>
          <a:spcPts val="2850"/>
        </a:lnSpc>
        <a:spcBef>
          <a:spcPct val="0"/>
        </a:spcBef>
        <a:buNone/>
        <a:defRPr sz="27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5995" marR="0" indent="-215995" algn="l" defTabSz="685783" rtl="0" eaLnBrk="1" fontAlgn="auto" latinLnBrk="0" hangingPunct="1">
        <a:lnSpc>
          <a:spcPct val="120000"/>
        </a:lnSpc>
        <a:spcBef>
          <a:spcPts val="225"/>
        </a:spcBef>
        <a:spcAft>
          <a:spcPts val="0"/>
        </a:spcAft>
        <a:buClrTx/>
        <a:buSzPct val="90000"/>
        <a:buFontTx/>
        <a:buBlip>
          <a:blip r:embed="rId186"/>
        </a:buBlip>
        <a:tabLst/>
        <a:defRPr sz="1650" kern="1200" spc="0" baseline="0">
          <a:solidFill>
            <a:schemeClr val="tx1"/>
          </a:solidFill>
          <a:latin typeface="FlandersArtSans-Regular" panose="00000500000000000000" pitchFamily="2" charset="0"/>
          <a:ea typeface="+mn-ea"/>
          <a:cs typeface="Calibri"/>
        </a:defRPr>
      </a:lvl1pPr>
      <a:lvl2pPr marL="431990" marR="0" indent="-215995" algn="l" defTabSz="685783" rtl="0" eaLnBrk="1" fontAlgn="auto" latinLnBrk="0" hangingPunct="1">
        <a:lnSpc>
          <a:spcPct val="120000"/>
        </a:lnSpc>
        <a:spcBef>
          <a:spcPts val="225"/>
        </a:spcBef>
        <a:spcAft>
          <a:spcPts val="0"/>
        </a:spcAft>
        <a:buClrTx/>
        <a:buSzPct val="75000"/>
        <a:buFontTx/>
        <a:buBlip>
          <a:blip r:embed="rId187"/>
        </a:buBlip>
        <a:tabLst/>
        <a:defRPr sz="1650" kern="1200" spc="0" baseline="0">
          <a:solidFill>
            <a:srgbClr val="9B9B9B"/>
          </a:solidFill>
          <a:latin typeface="FlandersArtSans-Regular" panose="00000500000000000000" pitchFamily="2" charset="0"/>
          <a:ea typeface="+mn-ea"/>
          <a:cs typeface="Calibri"/>
        </a:defRPr>
      </a:lvl2pPr>
      <a:lvl3pPr marL="647984" marR="0" indent="-215995" algn="l" defTabSz="685783" rtl="0" eaLnBrk="1" fontAlgn="auto" latinLnBrk="0" hangingPunct="1">
        <a:lnSpc>
          <a:spcPct val="120000"/>
        </a:lnSpc>
        <a:spcBef>
          <a:spcPts val="225"/>
        </a:spcBef>
        <a:spcAft>
          <a:spcPts val="0"/>
        </a:spcAft>
        <a:buClrTx/>
        <a:buSzPct val="85000"/>
        <a:buFontTx/>
        <a:buBlip>
          <a:blip r:embed="rId188"/>
        </a:buBlip>
        <a:tabLst/>
        <a:defRPr sz="1500" kern="1200" spc="0" baseline="0">
          <a:solidFill>
            <a:schemeClr val="tx1"/>
          </a:solidFill>
          <a:latin typeface="FlandersArtSans-Regular" panose="00000500000000000000" pitchFamily="2" charset="0"/>
          <a:ea typeface="+mn-ea"/>
          <a:cs typeface="Calibri"/>
        </a:defRPr>
      </a:lvl3pPr>
      <a:lvl4pPr marL="863978" marR="0" indent="-215995" algn="l" defTabSz="685783" rtl="0" eaLnBrk="1" fontAlgn="auto" latinLnBrk="0" hangingPunct="1">
        <a:lnSpc>
          <a:spcPct val="120000"/>
        </a:lnSpc>
        <a:spcBef>
          <a:spcPts val="225"/>
        </a:spcBef>
        <a:spcAft>
          <a:spcPts val="0"/>
        </a:spcAft>
        <a:buClrTx/>
        <a:buSzPct val="75000"/>
        <a:buFontTx/>
        <a:buBlip>
          <a:blip r:embed="rId189"/>
        </a:buBlip>
        <a:tabLst/>
        <a:defRPr sz="1500" kern="1200" spc="0" baseline="0">
          <a:solidFill>
            <a:schemeClr val="tx1"/>
          </a:solidFill>
          <a:latin typeface="FlandersArtSans-Regular" panose="00000500000000000000" pitchFamily="2" charset="0"/>
          <a:ea typeface="+mn-ea"/>
          <a:cs typeface="Calibri"/>
        </a:defRPr>
      </a:lvl4pPr>
      <a:lvl5pPr marL="1079973" marR="0" indent="-215995" algn="l" defTabSz="685783" rtl="0" eaLnBrk="1" fontAlgn="auto" latinLnBrk="0" hangingPunct="1">
        <a:lnSpc>
          <a:spcPct val="120000"/>
        </a:lnSpc>
        <a:spcBef>
          <a:spcPts val="225"/>
        </a:spcBef>
        <a:spcAft>
          <a:spcPts val="0"/>
        </a:spcAft>
        <a:buClrTx/>
        <a:buSzPct val="90000"/>
        <a:buFontTx/>
        <a:buBlip>
          <a:blip r:embed="rId186"/>
        </a:buBlip>
        <a:tabLst/>
        <a:defRPr sz="1500" kern="1200" spc="0" baseline="0">
          <a:solidFill>
            <a:schemeClr val="tx1"/>
          </a:solidFill>
          <a:latin typeface="FlandersArtSans-Regular" panose="00000500000000000000" pitchFamily="2" charset="0"/>
          <a:ea typeface="+mn-ea"/>
          <a:cs typeface="Calibri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4.jpe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image" Target="../media/image51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53.svg"/><Relationship Id="rId5" Type="http://schemas.openxmlformats.org/officeDocument/2006/relationships/image" Target="../media/image52.png"/><Relationship Id="rId10" Type="http://schemas.microsoft.com/office/2007/relationships/hdphoto" Target="../media/hdphoto1.wdp"/><Relationship Id="rId4" Type="http://schemas.microsoft.com/office/2007/relationships/hdphoto" Target="../media/hdphoto3.wdp"/><Relationship Id="rId9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5" Type="http://schemas.microsoft.com/office/2007/relationships/hdphoto" Target="../media/hdphoto1.wdp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8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Relationship Id="rId6" Type="http://schemas.microsoft.com/office/2007/relationships/hdphoto" Target="../media/hdphoto1.wdp"/><Relationship Id="rId5" Type="http://schemas.openxmlformats.org/officeDocument/2006/relationships/image" Target="../media/image25.png"/><Relationship Id="rId4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25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13" Type="http://schemas.openxmlformats.org/officeDocument/2006/relationships/image" Target="../media/image3.png"/><Relationship Id="rId18" Type="http://schemas.openxmlformats.org/officeDocument/2006/relationships/image" Target="../media/image43.png"/><Relationship Id="rId3" Type="http://schemas.openxmlformats.org/officeDocument/2006/relationships/image" Target="../media/image25.png"/><Relationship Id="rId21" Type="http://schemas.openxmlformats.org/officeDocument/2006/relationships/image" Target="../media/image46.svg"/><Relationship Id="rId7" Type="http://schemas.openxmlformats.org/officeDocument/2006/relationships/image" Target="../media/image37.png"/><Relationship Id="rId12" Type="http://schemas.openxmlformats.org/officeDocument/2006/relationships/image" Target="../media/image2.png"/><Relationship Id="rId17" Type="http://schemas.openxmlformats.org/officeDocument/2006/relationships/image" Target="../media/image42.sv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41.png"/><Relationship Id="rId20" Type="http://schemas.openxmlformats.org/officeDocument/2006/relationships/image" Target="../media/image45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6.svg"/><Relationship Id="rId11" Type="http://schemas.openxmlformats.org/officeDocument/2006/relationships/image" Target="../media/image1.png"/><Relationship Id="rId5" Type="http://schemas.openxmlformats.org/officeDocument/2006/relationships/image" Target="../media/image35.png"/><Relationship Id="rId15" Type="http://schemas.openxmlformats.org/officeDocument/2006/relationships/chart" Target="../charts/chart1.xml"/><Relationship Id="rId23" Type="http://schemas.openxmlformats.org/officeDocument/2006/relationships/image" Target="../media/image48.svg"/><Relationship Id="rId10" Type="http://schemas.openxmlformats.org/officeDocument/2006/relationships/image" Target="../media/image40.svg"/><Relationship Id="rId19" Type="http://schemas.openxmlformats.org/officeDocument/2006/relationships/image" Target="../media/image44.svg"/><Relationship Id="rId4" Type="http://schemas.microsoft.com/office/2007/relationships/hdphoto" Target="../media/hdphoto1.wdp"/><Relationship Id="rId9" Type="http://schemas.openxmlformats.org/officeDocument/2006/relationships/image" Target="../media/image39.png"/><Relationship Id="rId14" Type="http://schemas.openxmlformats.org/officeDocument/2006/relationships/image" Target="../media/image4.png"/><Relationship Id="rId22" Type="http://schemas.openxmlformats.org/officeDocument/2006/relationships/image" Target="../media/image4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1.png"/><Relationship Id="rId18" Type="http://schemas.openxmlformats.org/officeDocument/2006/relationships/image" Target="../media/image43.png"/><Relationship Id="rId3" Type="http://schemas.openxmlformats.org/officeDocument/2006/relationships/image" Target="../media/image25.png"/><Relationship Id="rId21" Type="http://schemas.openxmlformats.org/officeDocument/2006/relationships/image" Target="../media/image46.svg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17" Type="http://schemas.openxmlformats.org/officeDocument/2006/relationships/chart" Target="../charts/chart2.xml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4.png"/><Relationship Id="rId20" Type="http://schemas.openxmlformats.org/officeDocument/2006/relationships/image" Target="../media/image45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2.svg"/><Relationship Id="rId11" Type="http://schemas.openxmlformats.org/officeDocument/2006/relationships/image" Target="../media/image39.png"/><Relationship Id="rId5" Type="http://schemas.openxmlformats.org/officeDocument/2006/relationships/image" Target="../media/image41.png"/><Relationship Id="rId15" Type="http://schemas.openxmlformats.org/officeDocument/2006/relationships/image" Target="../media/image3.png"/><Relationship Id="rId23" Type="http://schemas.openxmlformats.org/officeDocument/2006/relationships/image" Target="../media/image48.svg"/><Relationship Id="rId10" Type="http://schemas.openxmlformats.org/officeDocument/2006/relationships/image" Target="../media/image38.svg"/><Relationship Id="rId19" Type="http://schemas.openxmlformats.org/officeDocument/2006/relationships/image" Target="../media/image44.svg"/><Relationship Id="rId4" Type="http://schemas.microsoft.com/office/2007/relationships/hdphoto" Target="../media/hdphoto1.wdp"/><Relationship Id="rId9" Type="http://schemas.openxmlformats.org/officeDocument/2006/relationships/image" Target="../media/image37.png"/><Relationship Id="rId14" Type="http://schemas.openxmlformats.org/officeDocument/2006/relationships/image" Target="../media/image2.png"/><Relationship Id="rId22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Draft-OenV-personeelsAPIs-vr-SWL/personalia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221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5DB1F33F-25BD-675A-271D-CB95AA355AB9}"/>
              </a:ext>
            </a:extLst>
          </p:cNvPr>
          <p:cNvSpPr txBox="1">
            <a:spLocks/>
          </p:cNvSpPr>
          <p:nvPr/>
        </p:nvSpPr>
        <p:spPr>
          <a:xfrm>
            <a:off x="628650" y="183987"/>
            <a:ext cx="7886700" cy="9941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850"/>
              </a:lnSpc>
              <a:spcBef>
                <a:spcPct val="0"/>
              </a:spcBef>
              <a:buNone/>
              <a:defRPr sz="277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l-BE" b="1" err="1">
                <a:latin typeface="Calibiri"/>
                <a:cs typeface="Quire Sans" panose="020B0502040400020003" pitchFamily="34" charset="0"/>
              </a:rPr>
              <a:t>RL’s</a:t>
            </a:r>
            <a:endParaRPr lang="nl-BE" b="1">
              <a:latin typeface="Calibiri"/>
              <a:cs typeface="Quire Sans" panose="020B0502040400020003" pitchFamily="34" charset="0"/>
            </a:endParaRPr>
          </a:p>
        </p:txBody>
      </p:sp>
      <p:pic>
        <p:nvPicPr>
          <p:cNvPr id="2" name="Picture 1" descr="A person writing on a paper&#10;&#10;Description automatically generated">
            <a:extLst>
              <a:ext uri="{FF2B5EF4-FFF2-40B4-BE49-F238E27FC236}">
                <a16:creationId xmlns:a16="http://schemas.microsoft.com/office/drawing/2014/main" id="{98D4529E-5577-2CBE-2430-40887258FC6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686"/>
          <a:stretch/>
        </p:blipFill>
        <p:spPr>
          <a:xfrm>
            <a:off x="-133" y="-1924050"/>
            <a:ext cx="5873070" cy="706755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4CC9926-78FE-8799-5257-BCAFBC256BC4}"/>
              </a:ext>
            </a:extLst>
          </p:cNvPr>
          <p:cNvSpPr/>
          <p:nvPr/>
        </p:nvSpPr>
        <p:spPr>
          <a:xfrm rot="10800000">
            <a:off x="-174728" y="4133833"/>
            <a:ext cx="3816000" cy="1009665"/>
          </a:xfrm>
          <a:prstGeom prst="rect">
            <a:avLst/>
          </a:prstGeom>
          <a:solidFill>
            <a:srgbClr val="D26E25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iri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9C12FAE-2E02-F265-74F7-71E3B7237DA3}"/>
              </a:ext>
            </a:extLst>
          </p:cNvPr>
          <p:cNvSpPr txBox="1">
            <a:spLocks/>
          </p:cNvSpPr>
          <p:nvPr/>
        </p:nvSpPr>
        <p:spPr>
          <a:xfrm>
            <a:off x="477854" y="4264478"/>
            <a:ext cx="1977153" cy="8790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850"/>
              </a:lnSpc>
              <a:spcBef>
                <a:spcPct val="0"/>
              </a:spcBef>
              <a:buNone/>
              <a:defRPr sz="277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nl-BE" sz="2000">
                <a:solidFill>
                  <a:schemeClr val="bg1">
                    <a:lumMod val="95000"/>
                  </a:schemeClr>
                </a:solidFill>
                <a:latin typeface="Calibiri"/>
              </a:rPr>
              <a:t>AGODI</a:t>
            </a:r>
          </a:p>
          <a:p>
            <a:pPr>
              <a:lnSpc>
                <a:spcPct val="100000"/>
              </a:lnSpc>
            </a:pPr>
            <a:r>
              <a:rPr lang="nl-BE" sz="1400">
                <a:solidFill>
                  <a:schemeClr val="bg1">
                    <a:lumMod val="95000"/>
                  </a:schemeClr>
                </a:solidFill>
                <a:latin typeface="Calibiri"/>
              </a:rPr>
              <a:t>AGENTSCHAP VOOR</a:t>
            </a:r>
          </a:p>
          <a:p>
            <a:pPr>
              <a:lnSpc>
                <a:spcPct val="100000"/>
              </a:lnSpc>
            </a:pPr>
            <a:r>
              <a:rPr lang="nl-BE" sz="1400">
                <a:solidFill>
                  <a:schemeClr val="bg1">
                    <a:lumMod val="95000"/>
                  </a:schemeClr>
                </a:solidFill>
                <a:latin typeface="Calibiri"/>
              </a:rPr>
              <a:t>ONDERWIJSDIENSTEN</a:t>
            </a:r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175D128F-BE93-451C-3625-7AE47C8F79DD}"/>
              </a:ext>
            </a:extLst>
          </p:cNvPr>
          <p:cNvSpPr/>
          <p:nvPr/>
        </p:nvSpPr>
        <p:spPr>
          <a:xfrm>
            <a:off x="3276600" y="342900"/>
            <a:ext cx="2905125" cy="4800600"/>
          </a:xfrm>
          <a:prstGeom prst="triangle">
            <a:avLst>
              <a:gd name="adj" fmla="val 100000"/>
            </a:avLst>
          </a:prstGeom>
          <a:solidFill>
            <a:srgbClr val="22212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iri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802A270-E53D-3E53-5E2A-EE26B8022373}"/>
              </a:ext>
            </a:extLst>
          </p:cNvPr>
          <p:cNvSpPr/>
          <p:nvPr/>
        </p:nvSpPr>
        <p:spPr>
          <a:xfrm rot="18104199">
            <a:off x="1186433" y="2215214"/>
            <a:ext cx="6789372" cy="568575"/>
          </a:xfrm>
          <a:prstGeom prst="rect">
            <a:avLst/>
          </a:prstGeom>
          <a:solidFill>
            <a:srgbClr val="D5702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iri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2DD3284A-55E7-57BB-BC4C-08D40D10FE0B}"/>
              </a:ext>
            </a:extLst>
          </p:cNvPr>
          <p:cNvSpPr txBox="1">
            <a:spLocks/>
          </p:cNvSpPr>
          <p:nvPr/>
        </p:nvSpPr>
        <p:spPr>
          <a:xfrm>
            <a:off x="4716813" y="2668177"/>
            <a:ext cx="3816000" cy="1229320"/>
          </a:xfrm>
          <a:prstGeom prst="rect">
            <a:avLst/>
          </a:prstGeom>
        </p:spPr>
        <p:txBody>
          <a:bodyPr vert="horz" lIns="0" tIns="0" rIns="0" bIns="45720" rtlCol="0">
            <a:noAutofit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4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5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6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7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4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nl-BE">
                <a:solidFill>
                  <a:schemeClr val="bg1"/>
                </a:solidFill>
                <a:latin typeface="Calibiri"/>
              </a:rPr>
              <a:t>Infosessie Softwareleveranciers</a:t>
            </a:r>
          </a:p>
          <a:p>
            <a:pPr marL="0" indent="0" algn="r">
              <a:buNone/>
            </a:pPr>
            <a:r>
              <a:rPr lang="nl-BE">
                <a:solidFill>
                  <a:schemeClr val="bg1"/>
                </a:solidFill>
                <a:latin typeface="Calibiri"/>
              </a:rPr>
              <a:t>9 juli 2024</a:t>
            </a:r>
          </a:p>
          <a:p>
            <a:pPr marL="0" indent="0" algn="r">
              <a:buNone/>
            </a:pPr>
            <a:r>
              <a:rPr lang="nl-BE">
                <a:solidFill>
                  <a:schemeClr val="bg1"/>
                </a:solidFill>
                <a:latin typeface="Calibiri"/>
              </a:rPr>
              <a:t>Frédéric Melaerts</a:t>
            </a:r>
            <a:endParaRPr lang="en-BE">
              <a:solidFill>
                <a:schemeClr val="bg1"/>
              </a:solidFill>
              <a:latin typeface="Calibiri"/>
            </a:endParaRPr>
          </a:p>
          <a:p>
            <a:pPr algn="r"/>
            <a:endParaRPr lang="nl-BE">
              <a:latin typeface="Calibiri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588ACB9-A4E1-CBA1-6109-9C77F52571BD}"/>
              </a:ext>
            </a:extLst>
          </p:cNvPr>
          <p:cNvGrpSpPr/>
          <p:nvPr/>
        </p:nvGrpSpPr>
        <p:grpSpPr>
          <a:xfrm>
            <a:off x="7391452" y="1706926"/>
            <a:ext cx="1595914" cy="581106"/>
            <a:chOff x="7399072" y="1580988"/>
            <a:chExt cx="1595914" cy="581106"/>
          </a:xfrm>
        </p:grpSpPr>
        <p:sp>
          <p:nvSpPr>
            <p:cNvPr id="3" name="Title 1">
              <a:extLst>
                <a:ext uri="{FF2B5EF4-FFF2-40B4-BE49-F238E27FC236}">
                  <a16:creationId xmlns:a16="http://schemas.microsoft.com/office/drawing/2014/main" id="{06BF6069-CAF1-726F-6D16-AAE4E278E828}"/>
                </a:ext>
              </a:extLst>
            </p:cNvPr>
            <p:cNvSpPr txBox="1">
              <a:spLocks/>
            </p:cNvSpPr>
            <p:nvPr/>
          </p:nvSpPr>
          <p:spPr>
            <a:xfrm>
              <a:off x="7399884" y="1580988"/>
              <a:ext cx="1595102" cy="581106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685800" rtl="0" eaLnBrk="1" latinLnBrk="0" hangingPunct="1">
                <a:lnSpc>
                  <a:spcPts val="2850"/>
                </a:lnSpc>
                <a:spcBef>
                  <a:spcPct val="0"/>
                </a:spcBef>
                <a:buNone/>
                <a:defRPr sz="2775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nl-BE">
                  <a:solidFill>
                    <a:schemeClr val="bg1"/>
                  </a:solidFill>
                  <a:latin typeface="Calibiri"/>
                </a:rPr>
                <a:t>Persona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E2D3479-B0DC-3C4F-290D-10FDD8BBB441}"/>
                </a:ext>
              </a:extLst>
            </p:cNvPr>
            <p:cNvSpPr/>
            <p:nvPr/>
          </p:nvSpPr>
          <p:spPr>
            <a:xfrm>
              <a:off x="7399072" y="1889746"/>
              <a:ext cx="1156460" cy="66844"/>
            </a:xfrm>
            <a:prstGeom prst="rect">
              <a:avLst/>
            </a:prstGeom>
            <a:solidFill>
              <a:srgbClr val="D5702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iri"/>
              </a:endParaRPr>
            </a:p>
          </p:txBody>
        </p:sp>
      </p:grpSp>
      <p:pic>
        <p:nvPicPr>
          <p:cNvPr id="20" name="Picture 2" descr="Evaluaties &amp; enquêtes">
            <a:extLst>
              <a:ext uri="{FF2B5EF4-FFF2-40B4-BE49-F238E27FC236}">
                <a16:creationId xmlns:a16="http://schemas.microsoft.com/office/drawing/2014/main" id="{8CCF7846-39DE-EDF9-B31F-CE8C42E8560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854" r="81029"/>
          <a:stretch/>
        </p:blipFill>
        <p:spPr bwMode="auto">
          <a:xfrm>
            <a:off x="6667072" y="4386254"/>
            <a:ext cx="369388" cy="757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Subtitle 2">
            <a:extLst>
              <a:ext uri="{FF2B5EF4-FFF2-40B4-BE49-F238E27FC236}">
                <a16:creationId xmlns:a16="http://schemas.microsoft.com/office/drawing/2014/main" id="{FCC126E9-1BA2-8BB9-8CD3-1396C20C9B16}"/>
              </a:ext>
            </a:extLst>
          </p:cNvPr>
          <p:cNvSpPr txBox="1">
            <a:spLocks/>
          </p:cNvSpPr>
          <p:nvPr/>
        </p:nvSpPr>
        <p:spPr>
          <a:xfrm>
            <a:off x="6424934" y="4467153"/>
            <a:ext cx="2107015" cy="581106"/>
          </a:xfrm>
          <a:prstGeom prst="rect">
            <a:avLst/>
          </a:prstGeom>
        </p:spPr>
        <p:txBody>
          <a:bodyPr vert="horz" lIns="0" tIns="0" rIns="0" bIns="45720" rtlCol="0">
            <a:noAutofit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4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5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6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7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4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nl-BE" b="1">
                <a:solidFill>
                  <a:schemeClr val="bg1"/>
                </a:solidFill>
                <a:latin typeface="Calibiri"/>
              </a:rPr>
              <a:t>Vlaanderen</a:t>
            </a:r>
          </a:p>
          <a:p>
            <a:pPr marL="0" indent="0" algn="r">
              <a:buNone/>
            </a:pPr>
            <a:r>
              <a:rPr lang="nl-BE" sz="1200">
                <a:solidFill>
                  <a:schemeClr val="bg1"/>
                </a:solidFill>
                <a:latin typeface="Calibiri"/>
              </a:rPr>
              <a:t>is onderwijs &amp; vorming</a:t>
            </a:r>
            <a:endParaRPr lang="en-BE" sz="1200">
              <a:solidFill>
                <a:schemeClr val="bg1"/>
              </a:solidFill>
              <a:latin typeface="Calibiri"/>
            </a:endParaRPr>
          </a:p>
          <a:p>
            <a:pPr algn="r"/>
            <a:endParaRPr lang="nl-BE">
              <a:latin typeface="Calibiri"/>
            </a:endParaRPr>
          </a:p>
        </p:txBody>
      </p:sp>
    </p:spTree>
    <p:extLst>
      <p:ext uri="{BB962C8B-B14F-4D97-AF65-F5344CB8AC3E}">
        <p14:creationId xmlns:p14="http://schemas.microsoft.com/office/powerpoint/2010/main" val="37183106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221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11660F7A-F13D-4FD8-1104-18E87C110859}"/>
              </a:ext>
            </a:extLst>
          </p:cNvPr>
          <p:cNvSpPr/>
          <p:nvPr/>
        </p:nvSpPr>
        <p:spPr>
          <a:xfrm rot="2400000">
            <a:off x="-1031135" y="4208563"/>
            <a:ext cx="2631817" cy="1374948"/>
          </a:xfrm>
          <a:prstGeom prst="rect">
            <a:avLst/>
          </a:prstGeom>
          <a:solidFill>
            <a:srgbClr val="D26E2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/>
              <a:ea typeface="Calibri"/>
              <a:cs typeface="Calibri"/>
            </a:endParaRPr>
          </a:p>
        </p:txBody>
      </p:sp>
      <p:grpSp>
        <p:nvGrpSpPr>
          <p:cNvPr id="2051" name="Group 2050">
            <a:extLst>
              <a:ext uri="{FF2B5EF4-FFF2-40B4-BE49-F238E27FC236}">
                <a16:creationId xmlns:a16="http://schemas.microsoft.com/office/drawing/2014/main" id="{0B48590C-941E-2E0C-F1EB-45CC7A7B2BF5}"/>
              </a:ext>
            </a:extLst>
          </p:cNvPr>
          <p:cNvGrpSpPr/>
          <p:nvPr/>
        </p:nvGrpSpPr>
        <p:grpSpPr>
          <a:xfrm>
            <a:off x="6461549" y="1434958"/>
            <a:ext cx="1800000" cy="1800003"/>
            <a:chOff x="5739296" y="1362866"/>
            <a:chExt cx="1800000" cy="1800003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4B5CDE7B-29DA-6B66-6195-57F51E06825F}"/>
                </a:ext>
              </a:extLst>
            </p:cNvPr>
            <p:cNvSpPr/>
            <p:nvPr/>
          </p:nvSpPr>
          <p:spPr>
            <a:xfrm>
              <a:off x="5739296" y="1362866"/>
              <a:ext cx="1800000" cy="1800003"/>
            </a:xfrm>
            <a:prstGeom prst="ellipse">
              <a:avLst/>
            </a:prstGeom>
            <a:solidFill>
              <a:srgbClr val="D26E2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1026" name="Picture 2" descr="Stevie Maes - Agentschap voor Onderwijsdiensten | LinkedIn">
              <a:extLst>
                <a:ext uri="{FF2B5EF4-FFF2-40B4-BE49-F238E27FC236}">
                  <a16:creationId xmlns:a16="http://schemas.microsoft.com/office/drawing/2014/main" id="{C13CA9EF-EDF5-5DDC-A987-E32BD88B81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0696" y="1584268"/>
              <a:ext cx="1357200" cy="1357200"/>
            </a:xfrm>
            <a:prstGeom prst="ellipse">
              <a:avLst/>
            </a:prstGeom>
            <a:ln w="63500" cap="rnd">
              <a:solidFill>
                <a:srgbClr val="333333"/>
              </a:solidFill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Subtitle 3">
            <a:extLst>
              <a:ext uri="{FF2B5EF4-FFF2-40B4-BE49-F238E27FC236}">
                <a16:creationId xmlns:a16="http://schemas.microsoft.com/office/drawing/2014/main" id="{79D0E359-26D6-0276-9C88-675CD44F550B}"/>
              </a:ext>
            </a:extLst>
          </p:cNvPr>
          <p:cNvSpPr txBox="1">
            <a:spLocks/>
          </p:cNvSpPr>
          <p:nvPr/>
        </p:nvSpPr>
        <p:spPr>
          <a:xfrm>
            <a:off x="5483969" y="3423476"/>
            <a:ext cx="3755159" cy="1242000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indent="0" algn="ctr">
              <a:lnSpc>
                <a:spcPct val="100000"/>
              </a:lnSpc>
              <a:buNone/>
              <a:defRPr sz="1200">
                <a:solidFill>
                  <a:srgbClr val="FFFFFF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i="1">
                <a:latin typeface="Calibri"/>
                <a:ea typeface="Calibri"/>
                <a:cs typeface="Calibri"/>
              </a:rPr>
              <a:t>Stevie Maes</a:t>
            </a:r>
          </a:p>
          <a:p>
            <a:r>
              <a:rPr lang="nl-BE" i="1">
                <a:latin typeface="Calibri"/>
                <a:ea typeface="Calibri"/>
                <a:cs typeface="Calibri"/>
              </a:rPr>
              <a:t>AGODI Functioneel Analist</a:t>
            </a:r>
          </a:p>
          <a:p>
            <a:r>
              <a:rPr lang="nl-BE" i="1">
                <a:latin typeface="Calibri"/>
                <a:ea typeface="Calibri"/>
                <a:cs typeface="Calibri"/>
              </a:rPr>
              <a:t>stevie.maes@ond.vlaanderen.be </a:t>
            </a:r>
            <a:endParaRPr lang="en-BE" i="1">
              <a:latin typeface="Calibri"/>
              <a:ea typeface="Calibri"/>
              <a:cs typeface="Calibri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126ADC9-1179-A152-40BF-7EE561466DE2}"/>
              </a:ext>
            </a:extLst>
          </p:cNvPr>
          <p:cNvGrpSpPr/>
          <p:nvPr/>
        </p:nvGrpSpPr>
        <p:grpSpPr>
          <a:xfrm>
            <a:off x="3385136" y="1464201"/>
            <a:ext cx="2373727" cy="2225311"/>
            <a:chOff x="3790897" y="1604152"/>
            <a:chExt cx="2373727" cy="2225311"/>
          </a:xfrm>
        </p:grpSpPr>
        <p:sp>
          <p:nvSpPr>
            <p:cNvPr id="2057" name="TextBox 2056">
              <a:extLst>
                <a:ext uri="{FF2B5EF4-FFF2-40B4-BE49-F238E27FC236}">
                  <a16:creationId xmlns:a16="http://schemas.microsoft.com/office/drawing/2014/main" id="{D48DF8EC-8737-34C0-724D-82706FF43F71}"/>
                </a:ext>
              </a:extLst>
            </p:cNvPr>
            <p:cNvSpPr txBox="1"/>
            <p:nvPr/>
          </p:nvSpPr>
          <p:spPr>
            <a:xfrm>
              <a:off x="3790897" y="3552464"/>
              <a:ext cx="2373727" cy="276999"/>
            </a:xfrm>
            <a:prstGeom prst="rect">
              <a:avLst/>
            </a:prstGeom>
          </p:spPr>
          <p:txBody>
            <a:bodyPr/>
            <a:lstStyle>
              <a:defPPr>
                <a:defRPr lang="nl-BE"/>
              </a:defPPr>
              <a:lvl1pPr indent="0" algn="ctr">
                <a:lnSpc>
                  <a:spcPct val="100000"/>
                </a:lnSpc>
                <a:buNone/>
                <a:defRPr sz="1200">
                  <a:solidFill>
                    <a:srgbClr val="FFFFFF"/>
                  </a:solidFill>
                </a:defRPr>
              </a:lvl1pPr>
            </a:lstStyle>
            <a:p>
              <a:r>
                <a:rPr lang="nl-BE" i="1">
                  <a:latin typeface="Calibri"/>
                  <a:ea typeface="Calibri"/>
                  <a:cs typeface="Calibri"/>
                </a:rPr>
                <a:t>persona.onderwijs@vlaanderen.be</a:t>
              </a:r>
            </a:p>
          </p:txBody>
        </p:sp>
        <p:grpSp>
          <p:nvGrpSpPr>
            <p:cNvPr id="2050" name="Group 2049">
              <a:extLst>
                <a:ext uri="{FF2B5EF4-FFF2-40B4-BE49-F238E27FC236}">
                  <a16:creationId xmlns:a16="http://schemas.microsoft.com/office/drawing/2014/main" id="{11CCD5AC-A0DC-02B0-2420-04EAD93CAA30}"/>
                </a:ext>
              </a:extLst>
            </p:cNvPr>
            <p:cNvGrpSpPr/>
            <p:nvPr/>
          </p:nvGrpSpPr>
          <p:grpSpPr>
            <a:xfrm>
              <a:off x="4077761" y="1604152"/>
              <a:ext cx="1800000" cy="1800003"/>
              <a:chOff x="1109355" y="1465989"/>
              <a:chExt cx="1800000" cy="1800003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89283878-726F-537D-2F70-DE806C384B9D}"/>
                  </a:ext>
                </a:extLst>
              </p:cNvPr>
              <p:cNvSpPr/>
              <p:nvPr/>
            </p:nvSpPr>
            <p:spPr>
              <a:xfrm>
                <a:off x="1109355" y="1465989"/>
                <a:ext cx="1800000" cy="1800003"/>
              </a:xfrm>
              <a:prstGeom prst="ellipse">
                <a:avLst/>
              </a:prstGeom>
              <a:solidFill>
                <a:srgbClr val="D26E2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>
                  <a:latin typeface="Calibri"/>
                  <a:ea typeface="Calibri"/>
                  <a:cs typeface="Calibri"/>
                </a:endParaRPr>
              </a:p>
            </p:txBody>
          </p:sp>
          <p:sp>
            <p:nvSpPr>
              <p:cNvPr id="2049" name="Oval 2048">
                <a:extLst>
                  <a:ext uri="{FF2B5EF4-FFF2-40B4-BE49-F238E27FC236}">
                    <a16:creationId xmlns:a16="http://schemas.microsoft.com/office/drawing/2014/main" id="{83057EF5-CC84-426D-4A84-35375844FFB9}"/>
                  </a:ext>
                </a:extLst>
              </p:cNvPr>
              <p:cNvSpPr/>
              <p:nvPr/>
            </p:nvSpPr>
            <p:spPr>
              <a:xfrm>
                <a:off x="1289355" y="1645990"/>
                <a:ext cx="1440000" cy="1440000"/>
              </a:xfrm>
              <a:prstGeom prst="ellipse">
                <a:avLst/>
              </a:prstGeom>
              <a:solidFill>
                <a:srgbClr val="22212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>
                  <a:latin typeface="Calibri"/>
                  <a:ea typeface="Calibri"/>
                  <a:cs typeface="Calibri"/>
                </a:endParaRPr>
              </a:p>
            </p:txBody>
          </p:sp>
          <p:pic>
            <p:nvPicPr>
              <p:cNvPr id="2048" name="Graphic 2047" descr="Email with solid fill">
                <a:extLst>
                  <a:ext uri="{FF2B5EF4-FFF2-40B4-BE49-F238E27FC236}">
                    <a16:creationId xmlns:a16="http://schemas.microsoft.com/office/drawing/2014/main" id="{E747747B-F678-A392-EF0C-ACB34C1745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552155" y="1865928"/>
                <a:ext cx="914400" cy="914400"/>
              </a:xfrm>
              <a:prstGeom prst="rect">
                <a:avLst/>
              </a:prstGeom>
            </p:spPr>
          </p:pic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1D3A2422-7125-CDA8-A968-4C3D0AAF88F8}"/>
              </a:ext>
            </a:extLst>
          </p:cNvPr>
          <p:cNvGrpSpPr/>
          <p:nvPr/>
        </p:nvGrpSpPr>
        <p:grpSpPr>
          <a:xfrm>
            <a:off x="-121778" y="1434958"/>
            <a:ext cx="3755159" cy="3170647"/>
            <a:chOff x="-1288754" y="1342668"/>
            <a:chExt cx="3755159" cy="3170647"/>
          </a:xfrm>
        </p:grpSpPr>
        <p:sp>
          <p:nvSpPr>
            <p:cNvPr id="5" name="Subtitle 3">
              <a:extLst>
                <a:ext uri="{FF2B5EF4-FFF2-40B4-BE49-F238E27FC236}">
                  <a16:creationId xmlns:a16="http://schemas.microsoft.com/office/drawing/2014/main" id="{362BE8C6-6B2D-2147-49D2-4C04F4CCE3F7}"/>
                </a:ext>
              </a:extLst>
            </p:cNvPr>
            <p:cNvSpPr txBox="1">
              <a:spLocks/>
            </p:cNvSpPr>
            <p:nvPr/>
          </p:nvSpPr>
          <p:spPr>
            <a:xfrm>
              <a:off x="-1288754" y="3271315"/>
              <a:ext cx="3755159" cy="1242000"/>
            </a:xfrm>
            <a:prstGeom prst="rect">
              <a:avLst/>
            </a:prstGeom>
          </p:spPr>
          <p:txBody>
            <a:bodyPr lIns="91440" tIns="45720" rIns="91440" bIns="45720" anchor="t"/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buNone/>
              </a:pPr>
              <a:r>
                <a:rPr lang="nl-BE" sz="1200" i="1">
                  <a:solidFill>
                    <a:srgbClr val="FFFFFF"/>
                  </a:solidFill>
                  <a:latin typeface="Calibiri"/>
                  <a:ea typeface="Calibri"/>
                  <a:cs typeface="Calibri"/>
                </a:rPr>
                <a:t>Frédéric Melaerts</a:t>
              </a:r>
            </a:p>
            <a:p>
              <a:pPr marL="0" indent="0" algn="ctr">
                <a:lnSpc>
                  <a:spcPct val="100000"/>
                </a:lnSpc>
                <a:buNone/>
              </a:pPr>
              <a:r>
                <a:rPr lang="nl-BE" sz="1200" i="1">
                  <a:solidFill>
                    <a:srgbClr val="FFFFFF"/>
                  </a:solidFill>
                  <a:latin typeface="Calibiri"/>
                  <a:ea typeface="Calibri"/>
                  <a:cs typeface="Calibri"/>
                </a:rPr>
                <a:t>AGODI </a:t>
              </a:r>
              <a:r>
                <a:rPr lang="nl-BE" sz="1200" i="1">
                  <a:solidFill>
                    <a:srgbClr val="FFFFFF"/>
                  </a:solidFill>
                  <a:latin typeface="Calibri"/>
                  <a:ea typeface="Calibri"/>
                  <a:cs typeface="Calibri"/>
                </a:rPr>
                <a:t>Functioneel</a:t>
              </a:r>
              <a:r>
                <a:rPr lang="nl-BE" sz="1200" i="1">
                  <a:solidFill>
                    <a:srgbClr val="FFFFFF"/>
                  </a:solidFill>
                  <a:latin typeface="Calibiri"/>
                  <a:ea typeface="Calibri"/>
                  <a:cs typeface="Calibri"/>
                </a:rPr>
                <a:t> Analist</a:t>
              </a:r>
            </a:p>
            <a:p>
              <a:pPr marL="0" indent="0" algn="ctr">
                <a:lnSpc>
                  <a:spcPct val="100000"/>
                </a:lnSpc>
                <a:buNone/>
              </a:pPr>
              <a:r>
                <a:rPr lang="nl-BE" sz="1200" i="1">
                  <a:solidFill>
                    <a:srgbClr val="FFFFFF"/>
                  </a:solidFill>
                  <a:latin typeface="Calibiri"/>
                  <a:ea typeface="Calibri"/>
                  <a:cs typeface="Calibri"/>
                </a:rPr>
                <a:t>frederic.melaerts@ond.vlaanderen.be </a:t>
              </a:r>
              <a:endParaRPr lang="en-BE" sz="1200" i="1">
                <a:solidFill>
                  <a:srgbClr val="FFFFFF"/>
                </a:solidFill>
                <a:latin typeface="Calibiri"/>
                <a:ea typeface="Calibri"/>
                <a:cs typeface="Calibri"/>
              </a:endParaRPr>
            </a:p>
          </p:txBody>
        </p:sp>
        <p:grpSp>
          <p:nvGrpSpPr>
            <p:cNvPr id="2052" name="Group 2051">
              <a:extLst>
                <a:ext uri="{FF2B5EF4-FFF2-40B4-BE49-F238E27FC236}">
                  <a16:creationId xmlns:a16="http://schemas.microsoft.com/office/drawing/2014/main" id="{CF82BD31-84AF-ED67-5C83-D235F6A85473}"/>
                </a:ext>
              </a:extLst>
            </p:cNvPr>
            <p:cNvGrpSpPr/>
            <p:nvPr/>
          </p:nvGrpSpPr>
          <p:grpSpPr>
            <a:xfrm>
              <a:off x="-311174" y="1342668"/>
              <a:ext cx="1800000" cy="1800003"/>
              <a:chOff x="3087041" y="1052610"/>
              <a:chExt cx="1800000" cy="1800003"/>
            </a:xfrm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F48F1964-271D-C6E8-CC5B-0909DDB4BCFE}"/>
                  </a:ext>
                </a:extLst>
              </p:cNvPr>
              <p:cNvSpPr/>
              <p:nvPr/>
            </p:nvSpPr>
            <p:spPr>
              <a:xfrm>
                <a:off x="3087041" y="1052610"/>
                <a:ext cx="1800000" cy="1800003"/>
              </a:xfrm>
              <a:prstGeom prst="ellipse">
                <a:avLst/>
              </a:prstGeom>
              <a:solidFill>
                <a:srgbClr val="D26E2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>
                  <a:latin typeface="Calibri"/>
                  <a:ea typeface="Calibri"/>
                  <a:cs typeface="Calibri"/>
                </a:endParaRPr>
              </a:p>
            </p:txBody>
          </p:sp>
          <p:pic>
            <p:nvPicPr>
              <p:cNvPr id="4" name="Picture 3" descr="A person wearing glasses and smiling&#10;&#10;Description automatically generated">
                <a:extLst>
                  <a:ext uri="{FF2B5EF4-FFF2-40B4-BE49-F238E27FC236}">
                    <a16:creationId xmlns:a16="http://schemas.microsoft.com/office/drawing/2014/main" id="{DE69824F-5415-790B-4C45-E9656F65DA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47357" y="1274012"/>
                <a:ext cx="1279368" cy="1357200"/>
              </a:xfrm>
              <a:prstGeom prst="ellipse">
                <a:avLst/>
              </a:prstGeom>
              <a:ln w="63500" cap="rnd">
                <a:solidFill>
                  <a:srgbClr val="333333"/>
                </a:solidFill>
              </a:ln>
              <a:effectLst/>
              <a:scene3d>
                <a:camera prst="orthographicFront"/>
                <a:lightRig rig="contrasting" dir="t">
                  <a:rot lat="0" lon="0" rev="3000000"/>
                </a:lightRig>
              </a:scene3d>
              <a:sp3d contourW="7620">
                <a:contourClr>
                  <a:srgbClr val="333333"/>
                </a:contourClr>
              </a:sp3d>
            </p:spPr>
          </p:pic>
        </p:grpSp>
      </p:grpSp>
      <p:sp>
        <p:nvSpPr>
          <p:cNvPr id="2053" name="Title 1">
            <a:extLst>
              <a:ext uri="{FF2B5EF4-FFF2-40B4-BE49-F238E27FC236}">
                <a16:creationId xmlns:a16="http://schemas.microsoft.com/office/drawing/2014/main" id="{7D25EA51-87C7-83CF-3490-C43BAF6BCAD9}"/>
              </a:ext>
            </a:extLst>
          </p:cNvPr>
          <p:cNvSpPr txBox="1">
            <a:spLocks/>
          </p:cNvSpPr>
          <p:nvPr/>
        </p:nvSpPr>
        <p:spPr>
          <a:xfrm>
            <a:off x="628650" y="183987"/>
            <a:ext cx="7886700" cy="9941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850"/>
              </a:lnSpc>
              <a:spcBef>
                <a:spcPct val="0"/>
              </a:spcBef>
              <a:buNone/>
              <a:defRPr sz="277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l-BE" b="1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CONTACTS PERSONA</a:t>
            </a:r>
          </a:p>
        </p:txBody>
      </p:sp>
      <p:sp>
        <p:nvSpPr>
          <p:cNvPr id="2054" name="Rectangle 2053">
            <a:extLst>
              <a:ext uri="{FF2B5EF4-FFF2-40B4-BE49-F238E27FC236}">
                <a16:creationId xmlns:a16="http://schemas.microsoft.com/office/drawing/2014/main" id="{E7FE514C-0A56-081B-CC08-CD1D0CCBBB9D}"/>
              </a:ext>
            </a:extLst>
          </p:cNvPr>
          <p:cNvSpPr/>
          <p:nvPr/>
        </p:nvSpPr>
        <p:spPr>
          <a:xfrm rot="2400000">
            <a:off x="7502707" y="-595759"/>
            <a:ext cx="2631817" cy="1374948"/>
          </a:xfrm>
          <a:prstGeom prst="rect">
            <a:avLst/>
          </a:prstGeom>
          <a:solidFill>
            <a:srgbClr val="D26E2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/>
              <a:ea typeface="Calibri"/>
              <a:cs typeface="Calibri"/>
            </a:endParaRPr>
          </a:p>
        </p:txBody>
      </p:sp>
      <p:grpSp>
        <p:nvGrpSpPr>
          <p:cNvPr id="2055" name="Group 2054">
            <a:extLst>
              <a:ext uri="{FF2B5EF4-FFF2-40B4-BE49-F238E27FC236}">
                <a16:creationId xmlns:a16="http://schemas.microsoft.com/office/drawing/2014/main" id="{3A1B8D08-0667-177E-A2AE-1B4239B60394}"/>
              </a:ext>
            </a:extLst>
          </p:cNvPr>
          <p:cNvGrpSpPr/>
          <p:nvPr/>
        </p:nvGrpSpPr>
        <p:grpSpPr>
          <a:xfrm flipH="1">
            <a:off x="-775634" y="4175456"/>
            <a:ext cx="1681333" cy="1583319"/>
            <a:chOff x="8275101" y="4292024"/>
            <a:chExt cx="1681333" cy="1583319"/>
          </a:xfrm>
        </p:grpSpPr>
        <p:sp>
          <p:nvSpPr>
            <p:cNvPr id="2056" name="Rectangle 2055">
              <a:extLst>
                <a:ext uri="{FF2B5EF4-FFF2-40B4-BE49-F238E27FC236}">
                  <a16:creationId xmlns:a16="http://schemas.microsoft.com/office/drawing/2014/main" id="{E12F95CE-A087-0308-6A0D-2B0310677A97}"/>
                </a:ext>
              </a:extLst>
            </p:cNvPr>
            <p:cNvSpPr/>
            <p:nvPr/>
          </p:nvSpPr>
          <p:spPr>
            <a:xfrm rot="18104199">
              <a:off x="8284674" y="4833234"/>
              <a:ext cx="1032536" cy="1051681"/>
            </a:xfrm>
            <a:prstGeom prst="rect">
              <a:avLst/>
            </a:prstGeom>
            <a:solidFill>
              <a:srgbClr val="D26E2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2058" name="Rectangle 2057">
              <a:extLst>
                <a:ext uri="{FF2B5EF4-FFF2-40B4-BE49-F238E27FC236}">
                  <a16:creationId xmlns:a16="http://schemas.microsoft.com/office/drawing/2014/main" id="{5FFFF6DC-F3D1-5297-4378-19B3CCFF300D}"/>
                </a:ext>
              </a:extLst>
            </p:cNvPr>
            <p:cNvSpPr/>
            <p:nvPr/>
          </p:nvSpPr>
          <p:spPr>
            <a:xfrm rot="20606124">
              <a:off x="8730086" y="4292024"/>
              <a:ext cx="1226348" cy="1242590"/>
            </a:xfrm>
            <a:prstGeom prst="rect">
              <a:avLst/>
            </a:prstGeom>
            <a:solidFill>
              <a:srgbClr val="22212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2059" name="Picture 2" descr="Evaluaties &amp; enquêtes">
              <a:extLst>
                <a:ext uri="{FF2B5EF4-FFF2-40B4-BE49-F238E27FC236}">
                  <a16:creationId xmlns:a16="http://schemas.microsoft.com/office/drawing/2014/main" id="{D1F5D2D2-6139-615C-C805-A3792CE7167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54" r="81029"/>
            <a:stretch/>
          </p:blipFill>
          <p:spPr bwMode="auto">
            <a:xfrm>
              <a:off x="8730143" y="4514757"/>
              <a:ext cx="369388" cy="7572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05280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221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 descr="A telescope overlooking the ocean&#10;&#10;Description automatically generated">
            <a:extLst>
              <a:ext uri="{FF2B5EF4-FFF2-40B4-BE49-F238E27FC236}">
                <a16:creationId xmlns:a16="http://schemas.microsoft.com/office/drawing/2014/main" id="{D14A795E-8253-6112-47DA-F8766F1DFB3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23" t="16360" r="25082"/>
          <a:stretch/>
        </p:blipFill>
        <p:spPr>
          <a:xfrm>
            <a:off x="-379935" y="420734"/>
            <a:ext cx="4020984" cy="4302032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B1AF2C46-88F9-7BED-8DC8-BB78F1EDCA94}"/>
              </a:ext>
            </a:extLst>
          </p:cNvPr>
          <p:cNvSpPr/>
          <p:nvPr/>
        </p:nvSpPr>
        <p:spPr>
          <a:xfrm rot="20100000" flipH="1">
            <a:off x="3202959" y="-2019690"/>
            <a:ext cx="6788290" cy="825636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/>
              <a:ea typeface="Calibri"/>
              <a:cs typeface="Calibri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2B20393-EC8C-41AC-E217-34B197B7E7E9}"/>
              </a:ext>
            </a:extLst>
          </p:cNvPr>
          <p:cNvSpPr/>
          <p:nvPr/>
        </p:nvSpPr>
        <p:spPr>
          <a:xfrm rot="18104199">
            <a:off x="1768979" y="-646418"/>
            <a:ext cx="982363" cy="964928"/>
          </a:xfrm>
          <a:prstGeom prst="rect">
            <a:avLst/>
          </a:prstGeom>
          <a:solidFill>
            <a:srgbClr val="D26E2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/>
              <a:ea typeface="Calibri"/>
              <a:cs typeface="Calibri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E5C1ACF-04CD-27EE-10CD-ED6295D2700C}"/>
              </a:ext>
            </a:extLst>
          </p:cNvPr>
          <p:cNvGrpSpPr/>
          <p:nvPr/>
        </p:nvGrpSpPr>
        <p:grpSpPr>
          <a:xfrm>
            <a:off x="4321972" y="1557147"/>
            <a:ext cx="485131" cy="466956"/>
            <a:chOff x="708746" y="3781863"/>
            <a:chExt cx="540000" cy="540000"/>
          </a:xfrm>
          <a:solidFill>
            <a:srgbClr val="222124"/>
          </a:solidFill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4C841855-1061-4D2B-1AE4-6CC9C47DB710}"/>
                </a:ext>
              </a:extLst>
            </p:cNvPr>
            <p:cNvSpPr/>
            <p:nvPr/>
          </p:nvSpPr>
          <p:spPr>
            <a:xfrm>
              <a:off x="708746" y="3781863"/>
              <a:ext cx="540000" cy="540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2400" b="1">
                  <a:latin typeface="Calibri"/>
                  <a:ea typeface="Calibri"/>
                  <a:cs typeface="Calibri"/>
                </a:rPr>
                <a:t>1</a:t>
              </a: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CECC5C03-48CC-612F-9B34-4DA5EF57179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6431" y="3831573"/>
              <a:ext cx="438518" cy="438518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1600">
                  <a:solidFill>
                    <a:srgbClr val="FFFFFF"/>
                  </a:solidFill>
                  <a:latin typeface="Calibri"/>
                  <a:ea typeface="Calibri"/>
                  <a:cs typeface="Calibri"/>
                </a:rPr>
                <a:t>1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8EA3816-74C0-9D7A-911E-FB1CCD078F31}"/>
              </a:ext>
            </a:extLst>
          </p:cNvPr>
          <p:cNvGrpSpPr/>
          <p:nvPr/>
        </p:nvGrpSpPr>
        <p:grpSpPr>
          <a:xfrm>
            <a:off x="4329434" y="2243256"/>
            <a:ext cx="485131" cy="466956"/>
            <a:chOff x="708746" y="3781863"/>
            <a:chExt cx="540000" cy="540000"/>
          </a:xfrm>
          <a:solidFill>
            <a:srgbClr val="222124"/>
          </a:solidFill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2BA7867C-8473-8B03-27B5-D87167561A6B}"/>
                </a:ext>
              </a:extLst>
            </p:cNvPr>
            <p:cNvSpPr/>
            <p:nvPr/>
          </p:nvSpPr>
          <p:spPr>
            <a:xfrm>
              <a:off x="708746" y="3781863"/>
              <a:ext cx="540000" cy="540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2400" b="1">
                  <a:latin typeface="Calibri"/>
                  <a:ea typeface="Calibri"/>
                  <a:cs typeface="Calibri"/>
                </a:rPr>
                <a:t>1</a:t>
              </a: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A3EBFC5-CF60-2DB6-E213-2EF6D818E04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6431" y="3831573"/>
              <a:ext cx="438518" cy="438518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1600">
                  <a:solidFill>
                    <a:srgbClr val="FFFFFF"/>
                  </a:solidFill>
                  <a:latin typeface="Calibri"/>
                  <a:ea typeface="Calibri"/>
                  <a:cs typeface="Calibri"/>
                </a:rPr>
                <a:t>2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8D51E8A7-2689-C4CE-701F-4F2478BAE4AD}"/>
              </a:ext>
            </a:extLst>
          </p:cNvPr>
          <p:cNvGrpSpPr/>
          <p:nvPr/>
        </p:nvGrpSpPr>
        <p:grpSpPr>
          <a:xfrm>
            <a:off x="4332858" y="2943344"/>
            <a:ext cx="485131" cy="466956"/>
            <a:chOff x="708746" y="3781863"/>
            <a:chExt cx="540000" cy="540000"/>
          </a:xfrm>
          <a:solidFill>
            <a:srgbClr val="222124"/>
          </a:solidFill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0B293D90-AA82-F96C-64AC-890AAE8183B8}"/>
                </a:ext>
              </a:extLst>
            </p:cNvPr>
            <p:cNvSpPr/>
            <p:nvPr/>
          </p:nvSpPr>
          <p:spPr>
            <a:xfrm>
              <a:off x="708746" y="3781863"/>
              <a:ext cx="540000" cy="540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2400" b="1">
                  <a:latin typeface="Calibri"/>
                  <a:ea typeface="Calibri"/>
                  <a:cs typeface="Calibri"/>
                </a:rPr>
                <a:t>1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E1CE34B4-07E3-5EB8-7AD9-BDDDC6B8C6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6431" y="3831573"/>
              <a:ext cx="438519" cy="438518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1600">
                  <a:solidFill>
                    <a:srgbClr val="FFFFFF"/>
                  </a:solidFill>
                  <a:latin typeface="Calibri"/>
                  <a:ea typeface="Calibri"/>
                  <a:cs typeface="Calibri"/>
                </a:rPr>
                <a:t>3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E3FD1B4-842C-3AE3-E415-66CD062C5FDD}"/>
              </a:ext>
            </a:extLst>
          </p:cNvPr>
          <p:cNvGrpSpPr/>
          <p:nvPr/>
        </p:nvGrpSpPr>
        <p:grpSpPr>
          <a:xfrm>
            <a:off x="4321972" y="3598663"/>
            <a:ext cx="485131" cy="466956"/>
            <a:chOff x="708746" y="3781863"/>
            <a:chExt cx="540000" cy="540000"/>
          </a:xfrm>
          <a:solidFill>
            <a:srgbClr val="222124"/>
          </a:solidFill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D810BD3A-EF22-B288-4C57-B568F6D2EE18}"/>
                </a:ext>
              </a:extLst>
            </p:cNvPr>
            <p:cNvSpPr/>
            <p:nvPr/>
          </p:nvSpPr>
          <p:spPr>
            <a:xfrm>
              <a:off x="708746" y="3781863"/>
              <a:ext cx="540000" cy="540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2400" b="1">
                  <a:latin typeface="Calibri"/>
                  <a:ea typeface="Calibri"/>
                  <a:cs typeface="Calibri"/>
                </a:rPr>
                <a:t>1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6836943-E5AA-E0AB-E540-5517DCC2F92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6431" y="3831573"/>
              <a:ext cx="438518" cy="438518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1600">
                  <a:solidFill>
                    <a:srgbClr val="FFFFFF"/>
                  </a:solidFill>
                  <a:latin typeface="Calibri"/>
                  <a:ea typeface="Calibri"/>
                  <a:cs typeface="Calibri"/>
                </a:rPr>
                <a:t>4</a:t>
              </a:r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E1EE5A5D-051E-0D61-5415-6A2CE066BC7A}"/>
              </a:ext>
            </a:extLst>
          </p:cNvPr>
          <p:cNvSpPr txBox="1">
            <a:spLocks/>
          </p:cNvSpPr>
          <p:nvPr/>
        </p:nvSpPr>
        <p:spPr>
          <a:xfrm>
            <a:off x="4945328" y="1589122"/>
            <a:ext cx="1236708" cy="388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850"/>
              </a:lnSpc>
              <a:spcBef>
                <a:spcPct val="0"/>
              </a:spcBef>
              <a:buNone/>
              <a:defRPr sz="277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1800">
                <a:solidFill>
                  <a:srgbClr val="222124"/>
                </a:solidFill>
                <a:latin typeface="Calibri"/>
                <a:ea typeface="Calibri"/>
                <a:cs typeface="Calibri"/>
              </a:rPr>
              <a:t>HIGH LEVEL</a:t>
            </a:r>
          </a:p>
          <a:p>
            <a:endParaRPr lang="nl-BE" sz="1800">
              <a:solidFill>
                <a:srgbClr val="222124"/>
              </a:solidFill>
              <a:highlight>
                <a:srgbClr val="FF0000"/>
              </a:highlight>
              <a:latin typeface="Calibri"/>
              <a:ea typeface="Calibri"/>
              <a:cs typeface="Calibri"/>
            </a:endParaRPr>
          </a:p>
          <a:p>
            <a:endParaRPr lang="en-BE" sz="1800">
              <a:solidFill>
                <a:srgbClr val="222124"/>
              </a:solidFill>
              <a:highlight>
                <a:srgbClr val="FF0000"/>
              </a:highlight>
              <a:latin typeface="Calibri"/>
              <a:ea typeface="Calibri"/>
              <a:cs typeface="Calibri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906907C-41B2-3399-5D0A-E9AB86EDE892}"/>
              </a:ext>
            </a:extLst>
          </p:cNvPr>
          <p:cNvSpPr txBox="1">
            <a:spLocks/>
          </p:cNvSpPr>
          <p:nvPr/>
        </p:nvSpPr>
        <p:spPr>
          <a:xfrm>
            <a:off x="4945328" y="2285788"/>
            <a:ext cx="1236708" cy="388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850"/>
              </a:lnSpc>
              <a:spcBef>
                <a:spcPct val="0"/>
              </a:spcBef>
              <a:buNone/>
              <a:defRPr sz="277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1800">
                <a:solidFill>
                  <a:srgbClr val="222124"/>
                </a:solidFill>
                <a:latin typeface="Calibri"/>
                <a:ea typeface="Calibri"/>
                <a:cs typeface="Calibri"/>
              </a:rPr>
              <a:t>TERUGBLIK</a:t>
            </a:r>
          </a:p>
          <a:p>
            <a:endParaRPr lang="nl-BE" sz="1800">
              <a:solidFill>
                <a:srgbClr val="222124"/>
              </a:solidFill>
              <a:highlight>
                <a:srgbClr val="FF0000"/>
              </a:highlight>
              <a:latin typeface="Calibri"/>
              <a:ea typeface="Calibri"/>
              <a:cs typeface="Calibri"/>
            </a:endParaRPr>
          </a:p>
          <a:p>
            <a:endParaRPr lang="en-BE" sz="1800">
              <a:solidFill>
                <a:srgbClr val="222124"/>
              </a:solidFill>
              <a:highlight>
                <a:srgbClr val="FF0000"/>
              </a:highlight>
              <a:latin typeface="Calibri"/>
              <a:ea typeface="Calibri"/>
              <a:cs typeface="Calibri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38C7B52-76C8-31D2-EAA5-A8D56324A930}"/>
              </a:ext>
            </a:extLst>
          </p:cNvPr>
          <p:cNvSpPr txBox="1">
            <a:spLocks/>
          </p:cNvSpPr>
          <p:nvPr/>
        </p:nvSpPr>
        <p:spPr>
          <a:xfrm>
            <a:off x="4945328" y="3005136"/>
            <a:ext cx="1236708" cy="388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850"/>
              </a:lnSpc>
              <a:spcBef>
                <a:spcPct val="0"/>
              </a:spcBef>
              <a:buNone/>
              <a:defRPr sz="277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1800">
                <a:solidFill>
                  <a:srgbClr val="222124"/>
                </a:solidFill>
                <a:latin typeface="Calibri"/>
                <a:ea typeface="Calibri"/>
                <a:cs typeface="Calibri"/>
              </a:rPr>
              <a:t>CIJFERS</a:t>
            </a:r>
          </a:p>
          <a:p>
            <a:endParaRPr lang="nl-BE" sz="1800">
              <a:solidFill>
                <a:srgbClr val="222124"/>
              </a:solidFill>
              <a:highlight>
                <a:srgbClr val="FF0000"/>
              </a:highlight>
              <a:latin typeface="Calibri"/>
              <a:ea typeface="Calibri"/>
              <a:cs typeface="Calibri"/>
            </a:endParaRPr>
          </a:p>
          <a:p>
            <a:endParaRPr lang="en-BE" sz="1800">
              <a:solidFill>
                <a:srgbClr val="222124"/>
              </a:solidFill>
              <a:highlight>
                <a:srgbClr val="FF0000"/>
              </a:highlight>
              <a:latin typeface="Calibri"/>
              <a:ea typeface="Calibri"/>
              <a:cs typeface="Calibri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671D000-4B0B-D05D-4845-93EEA6BC54BE}"/>
              </a:ext>
            </a:extLst>
          </p:cNvPr>
          <p:cNvSpPr txBox="1">
            <a:spLocks/>
          </p:cNvSpPr>
          <p:nvPr/>
        </p:nvSpPr>
        <p:spPr>
          <a:xfrm>
            <a:off x="4945327" y="3666193"/>
            <a:ext cx="2036497" cy="388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850"/>
              </a:lnSpc>
              <a:spcBef>
                <a:spcPct val="0"/>
              </a:spcBef>
              <a:buNone/>
              <a:defRPr sz="277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1800">
                <a:solidFill>
                  <a:srgbClr val="222124"/>
                </a:solidFill>
                <a:latin typeface="Calibri"/>
                <a:ea typeface="Calibri"/>
                <a:cs typeface="Calibri"/>
              </a:rPr>
              <a:t>VOORUITBLIK 2024</a:t>
            </a:r>
          </a:p>
          <a:p>
            <a:endParaRPr lang="nl-BE" sz="1800">
              <a:solidFill>
                <a:srgbClr val="222124"/>
              </a:solidFill>
              <a:highlight>
                <a:srgbClr val="FF0000"/>
              </a:highlight>
              <a:latin typeface="Calibri"/>
              <a:ea typeface="Calibri"/>
              <a:cs typeface="Calibri"/>
            </a:endParaRPr>
          </a:p>
          <a:p>
            <a:endParaRPr lang="en-BE" sz="1800">
              <a:solidFill>
                <a:srgbClr val="222124"/>
              </a:solidFill>
              <a:highlight>
                <a:srgbClr val="FF0000"/>
              </a:highlight>
              <a:latin typeface="Calibri"/>
              <a:ea typeface="Calibri"/>
              <a:cs typeface="Calibri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7B060B9E-F968-89D1-77A9-35AFE4A41033}"/>
              </a:ext>
            </a:extLst>
          </p:cNvPr>
          <p:cNvSpPr txBox="1">
            <a:spLocks/>
          </p:cNvSpPr>
          <p:nvPr/>
        </p:nvSpPr>
        <p:spPr>
          <a:xfrm>
            <a:off x="628650" y="183987"/>
            <a:ext cx="7886700" cy="9941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850"/>
              </a:lnSpc>
              <a:spcBef>
                <a:spcPct val="0"/>
              </a:spcBef>
              <a:buNone/>
              <a:defRPr sz="277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l-BE" b="1">
                <a:latin typeface="Calibri"/>
                <a:ea typeface="Calibri"/>
                <a:cs typeface="Calibri"/>
              </a:rPr>
              <a:t>AGENDA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07E41BC-DC8D-EA9B-B06D-B361054D6A52}"/>
              </a:ext>
            </a:extLst>
          </p:cNvPr>
          <p:cNvSpPr/>
          <p:nvPr/>
        </p:nvSpPr>
        <p:spPr>
          <a:xfrm rot="20244495">
            <a:off x="2726240" y="-678984"/>
            <a:ext cx="569061" cy="6707184"/>
          </a:xfrm>
          <a:prstGeom prst="rect">
            <a:avLst/>
          </a:prstGeom>
          <a:solidFill>
            <a:srgbClr val="22212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/>
              <a:ea typeface="Calibri"/>
              <a:cs typeface="Calibri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A10557A-1A6E-C4C5-6E12-3AB001BAF30D}"/>
              </a:ext>
            </a:extLst>
          </p:cNvPr>
          <p:cNvGrpSpPr/>
          <p:nvPr/>
        </p:nvGrpSpPr>
        <p:grpSpPr>
          <a:xfrm>
            <a:off x="8280594" y="4296851"/>
            <a:ext cx="1681333" cy="1583319"/>
            <a:chOff x="8275101" y="4292024"/>
            <a:chExt cx="1681333" cy="1583319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417733A8-3F84-F7FC-C100-0A6E76DCC2DE}"/>
                </a:ext>
              </a:extLst>
            </p:cNvPr>
            <p:cNvSpPr/>
            <p:nvPr/>
          </p:nvSpPr>
          <p:spPr>
            <a:xfrm rot="18104199">
              <a:off x="8284674" y="4833234"/>
              <a:ext cx="1032536" cy="1051681"/>
            </a:xfrm>
            <a:prstGeom prst="rect">
              <a:avLst/>
            </a:prstGeom>
            <a:solidFill>
              <a:srgbClr val="D26E2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409AB07-F5EA-33EC-38F3-CF2E438A7796}"/>
                </a:ext>
              </a:extLst>
            </p:cNvPr>
            <p:cNvSpPr/>
            <p:nvPr/>
          </p:nvSpPr>
          <p:spPr>
            <a:xfrm rot="20606124">
              <a:off x="8730086" y="4292024"/>
              <a:ext cx="1226348" cy="1242590"/>
            </a:xfrm>
            <a:prstGeom prst="rect">
              <a:avLst/>
            </a:prstGeom>
            <a:solidFill>
              <a:srgbClr val="22212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27" name="Picture 2" descr="Evaluaties &amp; enquêtes">
              <a:extLst>
                <a:ext uri="{FF2B5EF4-FFF2-40B4-BE49-F238E27FC236}">
                  <a16:creationId xmlns:a16="http://schemas.microsoft.com/office/drawing/2014/main" id="{8BC4A194-3DF3-B72C-4BC0-08E53F3D5F6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54" r="81029"/>
            <a:stretch/>
          </p:blipFill>
          <p:spPr bwMode="auto">
            <a:xfrm>
              <a:off x="8730143" y="4514757"/>
              <a:ext cx="369388" cy="7572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593550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high angle view of a building&#10;&#10;Description automatically generated">
            <a:extLst>
              <a:ext uri="{FF2B5EF4-FFF2-40B4-BE49-F238E27FC236}">
                <a16:creationId xmlns:a16="http://schemas.microsoft.com/office/drawing/2014/main" id="{C7B6278D-BA35-8B91-8E5E-CD1DA9C9470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7951" y="0"/>
            <a:ext cx="6816401" cy="5143499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6F9F741B-8E68-5B29-BF01-A730C072293A}"/>
              </a:ext>
            </a:extLst>
          </p:cNvPr>
          <p:cNvSpPr/>
          <p:nvPr/>
        </p:nvSpPr>
        <p:spPr>
          <a:xfrm rot="19078896">
            <a:off x="-653964" y="-1892692"/>
            <a:ext cx="5890788" cy="9276307"/>
          </a:xfrm>
          <a:prstGeom prst="rect">
            <a:avLst/>
          </a:prstGeom>
          <a:solidFill>
            <a:srgbClr val="22212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802A270-E53D-3E53-5E2A-EE26B8022373}"/>
              </a:ext>
            </a:extLst>
          </p:cNvPr>
          <p:cNvSpPr/>
          <p:nvPr/>
        </p:nvSpPr>
        <p:spPr>
          <a:xfrm rot="19080000">
            <a:off x="-1225219" y="3463830"/>
            <a:ext cx="2450438" cy="3589243"/>
          </a:xfrm>
          <a:prstGeom prst="rect">
            <a:avLst/>
          </a:prstGeom>
          <a:solidFill>
            <a:srgbClr val="D26E2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DB1F33F-25BD-675A-271D-CB95AA355AB9}"/>
              </a:ext>
            </a:extLst>
          </p:cNvPr>
          <p:cNvSpPr txBox="1">
            <a:spLocks/>
          </p:cNvSpPr>
          <p:nvPr/>
        </p:nvSpPr>
        <p:spPr>
          <a:xfrm>
            <a:off x="658910" y="1291895"/>
            <a:ext cx="4088132" cy="4647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850"/>
              </a:lnSpc>
              <a:spcBef>
                <a:spcPct val="0"/>
              </a:spcBef>
              <a:buNone/>
              <a:defRPr sz="277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b="1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HIGH LEVEL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5AB30C6-CCB0-3586-9922-2F383BFB2A22}"/>
              </a:ext>
            </a:extLst>
          </p:cNvPr>
          <p:cNvSpPr txBox="1">
            <a:spLocks/>
          </p:cNvSpPr>
          <p:nvPr/>
        </p:nvSpPr>
        <p:spPr>
          <a:xfrm>
            <a:off x="658767" y="2212827"/>
            <a:ext cx="5657864" cy="6035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850"/>
              </a:lnSpc>
              <a:spcBef>
                <a:spcPct val="0"/>
              </a:spcBef>
              <a:buNone/>
              <a:defRPr sz="277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180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1. Personalia (</a:t>
            </a:r>
            <a:r>
              <a:rPr lang="nl-BE" sz="1800" i="1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registratie</a:t>
            </a:r>
            <a:r>
              <a:rPr lang="nl-BE" sz="180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 en </a:t>
            </a:r>
            <a:r>
              <a:rPr lang="nl-BE" sz="1800" i="1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verwerking</a:t>
            </a:r>
            <a:r>
              <a:rPr lang="nl-BE" sz="180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)</a:t>
            </a:r>
            <a:endParaRPr lang="en-BE" sz="1800">
              <a:highlight>
                <a:srgbClr val="FF0000"/>
              </a:highlight>
              <a:latin typeface="Calibri"/>
              <a:ea typeface="Calibri"/>
              <a:cs typeface="Calibri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84E6C96-BC31-672C-C9BF-2A04EA025FE9}"/>
              </a:ext>
            </a:extLst>
          </p:cNvPr>
          <p:cNvSpPr/>
          <p:nvPr/>
        </p:nvSpPr>
        <p:spPr>
          <a:xfrm rot="19075237">
            <a:off x="6046816" y="3194384"/>
            <a:ext cx="5844836" cy="1401077"/>
          </a:xfrm>
          <a:prstGeom prst="rect">
            <a:avLst/>
          </a:prstGeom>
          <a:solidFill>
            <a:srgbClr val="D26E25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019464-F830-691A-5073-14FD4F803464}"/>
              </a:ext>
            </a:extLst>
          </p:cNvPr>
          <p:cNvSpPr/>
          <p:nvPr/>
        </p:nvSpPr>
        <p:spPr>
          <a:xfrm rot="13680000">
            <a:off x="2757880" y="-1224627"/>
            <a:ext cx="2444788" cy="1162141"/>
          </a:xfrm>
          <a:prstGeom prst="rect">
            <a:avLst/>
          </a:prstGeom>
          <a:solidFill>
            <a:srgbClr val="D26E2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FA539DB-1DD1-F0AC-A100-44C35C867FF3}"/>
              </a:ext>
            </a:extLst>
          </p:cNvPr>
          <p:cNvSpPr/>
          <p:nvPr/>
        </p:nvSpPr>
        <p:spPr>
          <a:xfrm rot="19053695">
            <a:off x="8758227" y="3950997"/>
            <a:ext cx="2948873" cy="1761613"/>
          </a:xfrm>
          <a:prstGeom prst="rect">
            <a:avLst/>
          </a:prstGeom>
          <a:solidFill>
            <a:srgbClr val="22212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14A07EA-3340-01FB-470B-69F8E3248A28}"/>
              </a:ext>
            </a:extLst>
          </p:cNvPr>
          <p:cNvSpPr txBox="1">
            <a:spLocks/>
          </p:cNvSpPr>
          <p:nvPr/>
        </p:nvSpPr>
        <p:spPr>
          <a:xfrm>
            <a:off x="629237" y="1708773"/>
            <a:ext cx="4088132" cy="4647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850"/>
              </a:lnSpc>
              <a:spcBef>
                <a:spcPct val="0"/>
              </a:spcBef>
              <a:buNone/>
              <a:defRPr sz="277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1800" b="1" i="1">
                <a:solidFill>
                  <a:srgbClr val="D26E25"/>
                </a:solidFill>
                <a:latin typeface="Calibri"/>
                <a:ea typeface="Calibri"/>
                <a:cs typeface="Calibri"/>
              </a:rPr>
              <a:t>Verschillende track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B0C2DD9-07ED-42E9-1E94-AEDAF612D055}"/>
              </a:ext>
            </a:extLst>
          </p:cNvPr>
          <p:cNvSpPr txBox="1">
            <a:spLocks/>
          </p:cNvSpPr>
          <p:nvPr/>
        </p:nvSpPr>
        <p:spPr>
          <a:xfrm>
            <a:off x="644706" y="2611572"/>
            <a:ext cx="5657864" cy="4593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850"/>
              </a:lnSpc>
              <a:spcBef>
                <a:spcPct val="0"/>
              </a:spcBef>
              <a:buNone/>
              <a:defRPr sz="277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180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2. Registratie van opdrachten en dienstonderbrekingen</a:t>
            </a:r>
            <a:endParaRPr lang="en-BE" sz="1800">
              <a:highlight>
                <a:srgbClr val="FF0000"/>
              </a:highlight>
              <a:latin typeface="Calibri"/>
              <a:ea typeface="Calibri"/>
              <a:cs typeface="Calibri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AA75855-61A2-E571-CEFE-A03A0E51BAC7}"/>
              </a:ext>
            </a:extLst>
          </p:cNvPr>
          <p:cNvSpPr txBox="1">
            <a:spLocks/>
          </p:cNvSpPr>
          <p:nvPr/>
        </p:nvSpPr>
        <p:spPr>
          <a:xfrm>
            <a:off x="644706" y="2994489"/>
            <a:ext cx="5657864" cy="3823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850"/>
              </a:lnSpc>
              <a:spcBef>
                <a:spcPct val="0"/>
              </a:spcBef>
              <a:buNone/>
              <a:defRPr sz="277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180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3. </a:t>
            </a:r>
            <a:r>
              <a:rPr lang="nl-BE" sz="1800" err="1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Uitfaseering</a:t>
            </a:r>
            <a:r>
              <a:rPr lang="nl-BE" sz="180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 Edison</a:t>
            </a:r>
            <a:endParaRPr lang="en-BE" sz="1800">
              <a:highlight>
                <a:srgbClr val="FF0000"/>
              </a:highlight>
              <a:latin typeface="Calibri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96145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221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96D866F3-B9AC-71DD-F0D3-41449610F414}"/>
              </a:ext>
            </a:extLst>
          </p:cNvPr>
          <p:cNvSpPr/>
          <p:nvPr/>
        </p:nvSpPr>
        <p:spPr>
          <a:xfrm>
            <a:off x="241441" y="740658"/>
            <a:ext cx="8671017" cy="4186462"/>
          </a:xfrm>
          <a:prstGeom prst="roundRect">
            <a:avLst>
              <a:gd name="adj" fmla="val 296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/>
              <a:cs typeface="Calibri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1112FBC-DFFE-ACF2-47A4-8CD7ABA20CF0}"/>
              </a:ext>
            </a:extLst>
          </p:cNvPr>
          <p:cNvSpPr/>
          <p:nvPr/>
        </p:nvSpPr>
        <p:spPr>
          <a:xfrm>
            <a:off x="3024773" y="3471537"/>
            <a:ext cx="3094453" cy="1172778"/>
          </a:xfrm>
          <a:prstGeom prst="roundRect">
            <a:avLst>
              <a:gd name="adj" fmla="val 8787"/>
            </a:avLst>
          </a:prstGeom>
          <a:noFill/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nl-BE">
              <a:latin typeface="Calibri"/>
              <a:cs typeface="Calibri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F23D407-C8D3-488B-2DAB-C8B546989A0E}"/>
              </a:ext>
            </a:extLst>
          </p:cNvPr>
          <p:cNvSpPr txBox="1">
            <a:spLocks/>
          </p:cNvSpPr>
          <p:nvPr/>
        </p:nvSpPr>
        <p:spPr>
          <a:xfrm>
            <a:off x="241441" y="194155"/>
            <a:ext cx="7886700" cy="9941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850"/>
              </a:lnSpc>
              <a:spcBef>
                <a:spcPct val="0"/>
              </a:spcBef>
              <a:buNone/>
              <a:defRPr sz="277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b="1">
                <a:solidFill>
                  <a:schemeClr val="bg1"/>
                </a:solidFill>
                <a:latin typeface="Calibri"/>
                <a:cs typeface="Calibri"/>
              </a:rPr>
              <a:t>HIGH LEVEL - SCHEMA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20C4F04-6272-B1AB-4FFC-6AA6B9B29806}"/>
              </a:ext>
            </a:extLst>
          </p:cNvPr>
          <p:cNvSpPr txBox="1">
            <a:spLocks/>
          </p:cNvSpPr>
          <p:nvPr/>
        </p:nvSpPr>
        <p:spPr>
          <a:xfrm>
            <a:off x="604343" y="1244293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BE" sz="3300">
              <a:latin typeface="Calibri"/>
              <a:cs typeface="Calibri"/>
            </a:endParaRPr>
          </a:p>
        </p:txBody>
      </p:sp>
      <p:sp>
        <p:nvSpPr>
          <p:cNvPr id="1054" name="Stroomdiagram: Alternatief proces 19">
            <a:extLst>
              <a:ext uri="{FF2B5EF4-FFF2-40B4-BE49-F238E27FC236}">
                <a16:creationId xmlns:a16="http://schemas.microsoft.com/office/drawing/2014/main" id="{37E904A9-71AC-8FC4-CE11-6EAEB97C7987}"/>
              </a:ext>
            </a:extLst>
          </p:cNvPr>
          <p:cNvSpPr/>
          <p:nvPr/>
        </p:nvSpPr>
        <p:spPr>
          <a:xfrm>
            <a:off x="6649021" y="1165073"/>
            <a:ext cx="1370852" cy="3478325"/>
          </a:xfrm>
          <a:prstGeom prst="flowChartAlternateProcess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nl-BE">
                <a:solidFill>
                  <a:schemeClr val="accent2"/>
                </a:solidFill>
                <a:latin typeface="Calibri"/>
                <a:cs typeface="Calibri"/>
              </a:rPr>
              <a:t>EPD</a:t>
            </a:r>
          </a:p>
        </p:txBody>
      </p:sp>
      <p:sp>
        <p:nvSpPr>
          <p:cNvPr id="1055" name="Stroomdiagram: Alternatief proces 20">
            <a:extLst>
              <a:ext uri="{FF2B5EF4-FFF2-40B4-BE49-F238E27FC236}">
                <a16:creationId xmlns:a16="http://schemas.microsoft.com/office/drawing/2014/main" id="{29C1D6F6-F640-A1AF-2674-615B0757471C}"/>
              </a:ext>
            </a:extLst>
          </p:cNvPr>
          <p:cNvSpPr/>
          <p:nvPr/>
        </p:nvSpPr>
        <p:spPr>
          <a:xfrm>
            <a:off x="6874523" y="2201430"/>
            <a:ext cx="926116" cy="2102709"/>
          </a:xfrm>
          <a:prstGeom prst="flowChartAlternateProcess">
            <a:avLst/>
          </a:prstGeom>
          <a:solidFill>
            <a:schemeClr val="bg1"/>
          </a:solidFill>
          <a:ln w="38100">
            <a:solidFill>
              <a:srgbClr val="D26E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000">
                <a:solidFill>
                  <a:schemeClr val="accent2"/>
                </a:solidFill>
                <a:latin typeface="Calibri"/>
                <a:cs typeface="Calibri"/>
              </a:rPr>
              <a:t>Verwerking</a:t>
            </a:r>
          </a:p>
        </p:txBody>
      </p:sp>
      <p:grpSp>
        <p:nvGrpSpPr>
          <p:cNvPr id="1069" name="Group 1068">
            <a:extLst>
              <a:ext uri="{FF2B5EF4-FFF2-40B4-BE49-F238E27FC236}">
                <a16:creationId xmlns:a16="http://schemas.microsoft.com/office/drawing/2014/main" id="{1D490481-A622-5E43-AA4B-13E536D2FB89}"/>
              </a:ext>
            </a:extLst>
          </p:cNvPr>
          <p:cNvGrpSpPr/>
          <p:nvPr/>
        </p:nvGrpSpPr>
        <p:grpSpPr>
          <a:xfrm>
            <a:off x="1272267" y="1579713"/>
            <a:ext cx="1344218" cy="604021"/>
            <a:chOff x="2551066" y="-250121"/>
            <a:chExt cx="1821734" cy="1023157"/>
          </a:xfrm>
          <a:solidFill>
            <a:srgbClr val="D26E25"/>
          </a:solidFill>
        </p:grpSpPr>
        <p:sp>
          <p:nvSpPr>
            <p:cNvPr id="1066" name="Rectangle: Rounded Corners 1065">
              <a:extLst>
                <a:ext uri="{FF2B5EF4-FFF2-40B4-BE49-F238E27FC236}">
                  <a16:creationId xmlns:a16="http://schemas.microsoft.com/office/drawing/2014/main" id="{DCD9F087-86E5-0D17-C8C1-9087E02716EC}"/>
                </a:ext>
              </a:extLst>
            </p:cNvPr>
            <p:cNvSpPr/>
            <p:nvPr/>
          </p:nvSpPr>
          <p:spPr>
            <a:xfrm>
              <a:off x="2551066" y="-250121"/>
              <a:ext cx="1821734" cy="1023157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/>
                <a:cs typeface="Calibri"/>
              </a:endParaRPr>
            </a:p>
          </p:txBody>
        </p:sp>
        <p:sp>
          <p:nvSpPr>
            <p:cNvPr id="1068" name="Rectangle: Rounded Corners 1067">
              <a:extLst>
                <a:ext uri="{FF2B5EF4-FFF2-40B4-BE49-F238E27FC236}">
                  <a16:creationId xmlns:a16="http://schemas.microsoft.com/office/drawing/2014/main" id="{CFB2431B-DB83-7886-0980-8089B4459B58}"/>
                </a:ext>
              </a:extLst>
            </p:cNvPr>
            <p:cNvSpPr/>
            <p:nvPr/>
          </p:nvSpPr>
          <p:spPr>
            <a:xfrm>
              <a:off x="2624100" y="-185705"/>
              <a:ext cx="1675667" cy="894324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1600">
                  <a:latin typeface="Calibri"/>
                  <a:cs typeface="Calibri"/>
                </a:rPr>
                <a:t>Personalia</a:t>
              </a:r>
            </a:p>
          </p:txBody>
        </p:sp>
      </p:grpSp>
      <p:grpSp>
        <p:nvGrpSpPr>
          <p:cNvPr id="1070" name="Group 1069">
            <a:extLst>
              <a:ext uri="{FF2B5EF4-FFF2-40B4-BE49-F238E27FC236}">
                <a16:creationId xmlns:a16="http://schemas.microsoft.com/office/drawing/2014/main" id="{24AE170A-99C3-B3D6-AB1B-2F661A799BC1}"/>
              </a:ext>
            </a:extLst>
          </p:cNvPr>
          <p:cNvGrpSpPr/>
          <p:nvPr/>
        </p:nvGrpSpPr>
        <p:grpSpPr>
          <a:xfrm>
            <a:off x="1278409" y="2436801"/>
            <a:ext cx="1331934" cy="597111"/>
            <a:chOff x="2551066" y="-250121"/>
            <a:chExt cx="1821734" cy="1023157"/>
          </a:xfrm>
          <a:solidFill>
            <a:srgbClr val="D26E25"/>
          </a:solidFill>
        </p:grpSpPr>
        <p:sp>
          <p:nvSpPr>
            <p:cNvPr id="1071" name="Rectangle: Rounded Corners 1070">
              <a:extLst>
                <a:ext uri="{FF2B5EF4-FFF2-40B4-BE49-F238E27FC236}">
                  <a16:creationId xmlns:a16="http://schemas.microsoft.com/office/drawing/2014/main" id="{5A38A93B-0005-A32E-758D-98D4A05D7F18}"/>
                </a:ext>
              </a:extLst>
            </p:cNvPr>
            <p:cNvSpPr/>
            <p:nvPr/>
          </p:nvSpPr>
          <p:spPr>
            <a:xfrm>
              <a:off x="2551066" y="-250121"/>
              <a:ext cx="1821734" cy="1023157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/>
                <a:cs typeface="Calibri"/>
              </a:endParaRPr>
            </a:p>
          </p:txBody>
        </p:sp>
        <p:sp>
          <p:nvSpPr>
            <p:cNvPr id="1072" name="Rectangle: Rounded Corners 1071">
              <a:extLst>
                <a:ext uri="{FF2B5EF4-FFF2-40B4-BE49-F238E27FC236}">
                  <a16:creationId xmlns:a16="http://schemas.microsoft.com/office/drawing/2014/main" id="{D388FB2E-E200-C421-86E3-B0335E5457C2}"/>
                </a:ext>
              </a:extLst>
            </p:cNvPr>
            <p:cNvSpPr/>
            <p:nvPr/>
          </p:nvSpPr>
          <p:spPr>
            <a:xfrm>
              <a:off x="2624100" y="-185705"/>
              <a:ext cx="1675667" cy="894324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1600">
                  <a:latin typeface="Calibri"/>
                  <a:cs typeface="Calibri"/>
                </a:rPr>
                <a:t>O&amp;DO</a:t>
              </a:r>
            </a:p>
          </p:txBody>
        </p:sp>
      </p:grpSp>
      <p:grpSp>
        <p:nvGrpSpPr>
          <p:cNvPr id="1074" name="Group 1073">
            <a:extLst>
              <a:ext uri="{FF2B5EF4-FFF2-40B4-BE49-F238E27FC236}">
                <a16:creationId xmlns:a16="http://schemas.microsoft.com/office/drawing/2014/main" id="{818671A3-943D-CC70-35EA-9FD14F4885C1}"/>
              </a:ext>
            </a:extLst>
          </p:cNvPr>
          <p:cNvGrpSpPr/>
          <p:nvPr/>
        </p:nvGrpSpPr>
        <p:grpSpPr>
          <a:xfrm>
            <a:off x="1272267" y="3778672"/>
            <a:ext cx="1344219" cy="597111"/>
            <a:chOff x="2551066" y="-250121"/>
            <a:chExt cx="1821734" cy="1023157"/>
          </a:xfrm>
          <a:solidFill>
            <a:srgbClr val="D26E25"/>
          </a:solidFill>
        </p:grpSpPr>
        <p:sp>
          <p:nvSpPr>
            <p:cNvPr id="1075" name="Rectangle: Rounded Corners 1074">
              <a:extLst>
                <a:ext uri="{FF2B5EF4-FFF2-40B4-BE49-F238E27FC236}">
                  <a16:creationId xmlns:a16="http://schemas.microsoft.com/office/drawing/2014/main" id="{001A14B1-822B-B99A-1437-F3BC2A8D25F6}"/>
                </a:ext>
              </a:extLst>
            </p:cNvPr>
            <p:cNvSpPr/>
            <p:nvPr/>
          </p:nvSpPr>
          <p:spPr>
            <a:xfrm>
              <a:off x="2551066" y="-250121"/>
              <a:ext cx="1821734" cy="1023157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/>
                <a:cs typeface="Calibri"/>
              </a:endParaRPr>
            </a:p>
          </p:txBody>
        </p:sp>
        <p:sp>
          <p:nvSpPr>
            <p:cNvPr id="1076" name="Rectangle: Rounded Corners 1075">
              <a:extLst>
                <a:ext uri="{FF2B5EF4-FFF2-40B4-BE49-F238E27FC236}">
                  <a16:creationId xmlns:a16="http://schemas.microsoft.com/office/drawing/2014/main" id="{9B20DE57-3651-954F-0892-D91FA58D01E9}"/>
                </a:ext>
              </a:extLst>
            </p:cNvPr>
            <p:cNvSpPr/>
            <p:nvPr/>
          </p:nvSpPr>
          <p:spPr>
            <a:xfrm>
              <a:off x="2624100" y="-185705"/>
              <a:ext cx="1675667" cy="894324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>
                  <a:latin typeface="Calibri"/>
                  <a:cs typeface="Calibri"/>
                </a:rPr>
                <a:t>Overige </a:t>
              </a:r>
              <a:r>
                <a:rPr lang="nl-BE" err="1">
                  <a:latin typeface="Calibri"/>
                  <a:cs typeface="Calibri"/>
                </a:rPr>
                <a:t>RL’s</a:t>
              </a:r>
              <a:endParaRPr lang="nl-BE">
                <a:latin typeface="Calibri"/>
                <a:cs typeface="Calibri"/>
              </a:endParaRPr>
            </a:p>
          </p:txBody>
        </p:sp>
      </p:grpSp>
      <p:sp>
        <p:nvSpPr>
          <p:cNvPr id="1078" name="Rectangle: Rounded Corners 1077">
            <a:extLst>
              <a:ext uri="{FF2B5EF4-FFF2-40B4-BE49-F238E27FC236}">
                <a16:creationId xmlns:a16="http://schemas.microsoft.com/office/drawing/2014/main" id="{8018215B-1E94-8AB7-C4F8-75A9DBCCDC63}"/>
              </a:ext>
            </a:extLst>
          </p:cNvPr>
          <p:cNvSpPr/>
          <p:nvPr/>
        </p:nvSpPr>
        <p:spPr>
          <a:xfrm>
            <a:off x="3024773" y="1206299"/>
            <a:ext cx="3094453" cy="2201095"/>
          </a:xfrm>
          <a:prstGeom prst="roundRect">
            <a:avLst>
              <a:gd name="adj" fmla="val 8787"/>
            </a:avLst>
          </a:prstGeom>
          <a:solidFill>
            <a:srgbClr val="22212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l-BE">
                <a:latin typeface="Calibri"/>
                <a:cs typeface="Calibri"/>
              </a:rPr>
              <a:t>PERSONA</a:t>
            </a:r>
          </a:p>
        </p:txBody>
      </p:sp>
      <p:sp>
        <p:nvSpPr>
          <p:cNvPr id="1079" name="Stroomdiagram: Alternatief proces 3">
            <a:extLst>
              <a:ext uri="{FF2B5EF4-FFF2-40B4-BE49-F238E27FC236}">
                <a16:creationId xmlns:a16="http://schemas.microsoft.com/office/drawing/2014/main" id="{D8E9C168-F822-156C-963F-34445B1BBF49}"/>
              </a:ext>
            </a:extLst>
          </p:cNvPr>
          <p:cNvSpPr/>
          <p:nvPr/>
        </p:nvSpPr>
        <p:spPr>
          <a:xfrm>
            <a:off x="3253811" y="1687886"/>
            <a:ext cx="926116" cy="1599090"/>
          </a:xfrm>
          <a:prstGeom prst="flowChartAlternateProcess">
            <a:avLst/>
          </a:prstGeom>
          <a:solidFill>
            <a:schemeClr val="bg1"/>
          </a:solidFill>
          <a:ln w="38100">
            <a:solidFill>
              <a:srgbClr val="D26E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000">
                <a:solidFill>
                  <a:schemeClr val="accent2"/>
                </a:solidFill>
                <a:latin typeface="Calibri"/>
                <a:cs typeface="Calibri"/>
              </a:rPr>
              <a:t>Registratie</a:t>
            </a:r>
          </a:p>
        </p:txBody>
      </p:sp>
      <p:sp>
        <p:nvSpPr>
          <p:cNvPr id="1080" name="Stroomdiagram: Alternatief proces 4">
            <a:extLst>
              <a:ext uri="{FF2B5EF4-FFF2-40B4-BE49-F238E27FC236}">
                <a16:creationId xmlns:a16="http://schemas.microsoft.com/office/drawing/2014/main" id="{C66446CB-68A1-3F18-89A3-5933ABCAD352}"/>
              </a:ext>
            </a:extLst>
          </p:cNvPr>
          <p:cNvSpPr/>
          <p:nvPr/>
        </p:nvSpPr>
        <p:spPr>
          <a:xfrm>
            <a:off x="4948573" y="1772413"/>
            <a:ext cx="926116" cy="1000740"/>
          </a:xfrm>
          <a:prstGeom prst="flowChartAlternateProcess">
            <a:avLst/>
          </a:prstGeom>
          <a:solidFill>
            <a:schemeClr val="bg1"/>
          </a:solidFill>
          <a:ln w="38100">
            <a:solidFill>
              <a:srgbClr val="D26E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000">
                <a:solidFill>
                  <a:schemeClr val="accent2"/>
                </a:solidFill>
                <a:latin typeface="Calibri"/>
                <a:cs typeface="Calibri"/>
              </a:rPr>
              <a:t>Verwerking</a:t>
            </a:r>
          </a:p>
        </p:txBody>
      </p:sp>
      <p:sp>
        <p:nvSpPr>
          <p:cNvPr id="1081" name="Tekstvak 25">
            <a:extLst>
              <a:ext uri="{FF2B5EF4-FFF2-40B4-BE49-F238E27FC236}">
                <a16:creationId xmlns:a16="http://schemas.microsoft.com/office/drawing/2014/main" id="{5059FBC7-1F74-F2DA-1D82-09301294204A}"/>
              </a:ext>
            </a:extLst>
          </p:cNvPr>
          <p:cNvSpPr txBox="1"/>
          <p:nvPr/>
        </p:nvSpPr>
        <p:spPr>
          <a:xfrm>
            <a:off x="4615953" y="2800307"/>
            <a:ext cx="13129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nl-BE">
                <a:latin typeface="Calibri"/>
                <a:cs typeface="Calibri"/>
              </a:rPr>
              <a:t>Opdrachten en </a:t>
            </a:r>
            <a:r>
              <a:rPr lang="nl-BE" err="1">
                <a:latin typeface="Calibri"/>
                <a:cs typeface="Calibri"/>
              </a:rPr>
              <a:t>DO’s</a:t>
            </a:r>
            <a:endParaRPr lang="nl-BE">
              <a:latin typeface="Calibri"/>
              <a:cs typeface="Calibri"/>
            </a:endParaRPr>
          </a:p>
        </p:txBody>
      </p:sp>
      <p:sp>
        <p:nvSpPr>
          <p:cNvPr id="1082" name="Tekstvak 15">
            <a:extLst>
              <a:ext uri="{FF2B5EF4-FFF2-40B4-BE49-F238E27FC236}">
                <a16:creationId xmlns:a16="http://schemas.microsoft.com/office/drawing/2014/main" id="{5340D611-BFC5-D59B-DBA7-67893B9DF966}"/>
              </a:ext>
            </a:extLst>
          </p:cNvPr>
          <p:cNvSpPr txBox="1"/>
          <p:nvPr/>
        </p:nvSpPr>
        <p:spPr>
          <a:xfrm>
            <a:off x="4569264" y="3814448"/>
            <a:ext cx="13129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nl-BE">
                <a:solidFill>
                  <a:schemeClr val="tx1"/>
                </a:solidFill>
                <a:latin typeface="Calibri"/>
                <a:cs typeface="Calibri"/>
              </a:rPr>
              <a:t>Overige </a:t>
            </a:r>
            <a:r>
              <a:rPr lang="nl-BE" err="1">
                <a:solidFill>
                  <a:schemeClr val="tx1"/>
                </a:solidFill>
                <a:latin typeface="Calibri"/>
                <a:cs typeface="Calibri"/>
              </a:rPr>
              <a:t>RL’s</a:t>
            </a:r>
            <a:endParaRPr lang="nl-BE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084" name="Straight Arrow Connector 1083">
            <a:extLst>
              <a:ext uri="{FF2B5EF4-FFF2-40B4-BE49-F238E27FC236}">
                <a16:creationId xmlns:a16="http://schemas.microsoft.com/office/drawing/2014/main" id="{A40AEC1C-8446-66DE-3CA2-6B6F03408C50}"/>
              </a:ext>
            </a:extLst>
          </p:cNvPr>
          <p:cNvCxnSpPr>
            <a:cxnSpLocks/>
            <a:stCxn id="1066" idx="3"/>
          </p:cNvCxnSpPr>
          <p:nvPr/>
        </p:nvCxnSpPr>
        <p:spPr>
          <a:xfrm>
            <a:off x="2616485" y="1881724"/>
            <a:ext cx="637326" cy="0"/>
          </a:xfrm>
          <a:prstGeom prst="straightConnector1">
            <a:avLst/>
          </a:prstGeom>
          <a:ln w="19050">
            <a:solidFill>
              <a:srgbClr val="D26E25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5" name="Straight Arrow Connector 1084">
            <a:extLst>
              <a:ext uri="{FF2B5EF4-FFF2-40B4-BE49-F238E27FC236}">
                <a16:creationId xmlns:a16="http://schemas.microsoft.com/office/drawing/2014/main" id="{F1EA6A3F-7D0F-067A-D377-DBD3D18DF908}"/>
              </a:ext>
            </a:extLst>
          </p:cNvPr>
          <p:cNvCxnSpPr>
            <a:cxnSpLocks/>
            <a:stCxn id="1071" idx="3"/>
          </p:cNvCxnSpPr>
          <p:nvPr/>
        </p:nvCxnSpPr>
        <p:spPr>
          <a:xfrm>
            <a:off x="2610343" y="2735357"/>
            <a:ext cx="643468" cy="0"/>
          </a:xfrm>
          <a:prstGeom prst="straightConnector1">
            <a:avLst/>
          </a:prstGeom>
          <a:ln w="19050">
            <a:solidFill>
              <a:srgbClr val="D26E25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8" name="Straight Arrow Connector 1087">
            <a:extLst>
              <a:ext uri="{FF2B5EF4-FFF2-40B4-BE49-F238E27FC236}">
                <a16:creationId xmlns:a16="http://schemas.microsoft.com/office/drawing/2014/main" id="{56C0183F-BEBF-1763-21E5-690EFB047624}"/>
              </a:ext>
            </a:extLst>
          </p:cNvPr>
          <p:cNvCxnSpPr>
            <a:cxnSpLocks/>
            <a:stCxn id="1075" idx="3"/>
          </p:cNvCxnSpPr>
          <p:nvPr/>
        </p:nvCxnSpPr>
        <p:spPr>
          <a:xfrm>
            <a:off x="2616486" y="4077228"/>
            <a:ext cx="637325" cy="0"/>
          </a:xfrm>
          <a:prstGeom prst="straightConnector1">
            <a:avLst/>
          </a:prstGeom>
          <a:ln w="19050">
            <a:solidFill>
              <a:srgbClr val="D26E25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A56A70D8-4C39-163B-D1D6-1900E3669D6D}"/>
              </a:ext>
            </a:extLst>
          </p:cNvPr>
          <p:cNvGrpSpPr/>
          <p:nvPr/>
        </p:nvGrpSpPr>
        <p:grpSpPr>
          <a:xfrm>
            <a:off x="8275101" y="4292024"/>
            <a:ext cx="1681333" cy="1583319"/>
            <a:chOff x="8275101" y="4292024"/>
            <a:chExt cx="1681333" cy="1583319"/>
          </a:xfrm>
        </p:grpSpPr>
        <p:sp>
          <p:nvSpPr>
            <p:cNvPr id="1095" name="Rectangle 1094">
              <a:extLst>
                <a:ext uri="{FF2B5EF4-FFF2-40B4-BE49-F238E27FC236}">
                  <a16:creationId xmlns:a16="http://schemas.microsoft.com/office/drawing/2014/main" id="{C54D964F-2A56-9F17-C819-C2C496B7EB67}"/>
                </a:ext>
              </a:extLst>
            </p:cNvPr>
            <p:cNvSpPr/>
            <p:nvPr/>
          </p:nvSpPr>
          <p:spPr>
            <a:xfrm rot="18104199">
              <a:off x="8284674" y="4833234"/>
              <a:ext cx="1032536" cy="1051681"/>
            </a:xfrm>
            <a:prstGeom prst="rect">
              <a:avLst/>
            </a:prstGeom>
            <a:solidFill>
              <a:srgbClr val="D26E2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/>
                <a:cs typeface="Calibri"/>
              </a:endParaRPr>
            </a:p>
          </p:txBody>
        </p:sp>
        <p:sp>
          <p:nvSpPr>
            <p:cNvPr id="1096" name="Rectangle 1095">
              <a:extLst>
                <a:ext uri="{FF2B5EF4-FFF2-40B4-BE49-F238E27FC236}">
                  <a16:creationId xmlns:a16="http://schemas.microsoft.com/office/drawing/2014/main" id="{D01D7769-3A10-F0AC-103D-143CDA5675F9}"/>
                </a:ext>
              </a:extLst>
            </p:cNvPr>
            <p:cNvSpPr/>
            <p:nvPr/>
          </p:nvSpPr>
          <p:spPr>
            <a:xfrm rot="20606124">
              <a:off x="8730086" y="4292024"/>
              <a:ext cx="1226348" cy="1242590"/>
            </a:xfrm>
            <a:prstGeom prst="rect">
              <a:avLst/>
            </a:prstGeom>
            <a:solidFill>
              <a:srgbClr val="22212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/>
                <a:cs typeface="Calibri"/>
              </a:endParaRPr>
            </a:p>
          </p:txBody>
        </p:sp>
        <p:pic>
          <p:nvPicPr>
            <p:cNvPr id="1097" name="Picture 2" descr="Evaluaties &amp; enquêtes">
              <a:extLst>
                <a:ext uri="{FF2B5EF4-FFF2-40B4-BE49-F238E27FC236}">
                  <a16:creationId xmlns:a16="http://schemas.microsoft.com/office/drawing/2014/main" id="{6A0B41A7-EEB4-F3E5-3E48-7A430E63A1F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54" r="81029"/>
            <a:stretch/>
          </p:blipFill>
          <p:spPr bwMode="auto">
            <a:xfrm>
              <a:off x="8730143" y="4514757"/>
              <a:ext cx="369388" cy="7572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098" name="Straight Arrow Connector 1097">
            <a:extLst>
              <a:ext uri="{FF2B5EF4-FFF2-40B4-BE49-F238E27FC236}">
                <a16:creationId xmlns:a16="http://schemas.microsoft.com/office/drawing/2014/main" id="{F4B6B35A-5998-AE29-A332-DA2FDA233832}"/>
              </a:ext>
            </a:extLst>
          </p:cNvPr>
          <p:cNvCxnSpPr>
            <a:cxnSpLocks/>
            <a:stCxn id="1080" idx="3"/>
          </p:cNvCxnSpPr>
          <p:nvPr/>
        </p:nvCxnSpPr>
        <p:spPr>
          <a:xfrm>
            <a:off x="5874689" y="2272783"/>
            <a:ext cx="768646" cy="0"/>
          </a:xfrm>
          <a:prstGeom prst="straightConnector1">
            <a:avLst/>
          </a:prstGeom>
          <a:ln w="19050">
            <a:solidFill>
              <a:srgbClr val="D26E25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3" name="Straight Arrow Connector 1102">
            <a:extLst>
              <a:ext uri="{FF2B5EF4-FFF2-40B4-BE49-F238E27FC236}">
                <a16:creationId xmlns:a16="http://schemas.microsoft.com/office/drawing/2014/main" id="{B21C4F60-28D6-EB6C-B2FD-F0D80F6AD83D}"/>
              </a:ext>
            </a:extLst>
          </p:cNvPr>
          <p:cNvCxnSpPr>
            <a:cxnSpLocks/>
          </p:cNvCxnSpPr>
          <p:nvPr/>
        </p:nvCxnSpPr>
        <p:spPr>
          <a:xfrm>
            <a:off x="4204234" y="3041803"/>
            <a:ext cx="2649004" cy="0"/>
          </a:xfrm>
          <a:prstGeom prst="straightConnector1">
            <a:avLst/>
          </a:prstGeom>
          <a:ln w="19050">
            <a:solidFill>
              <a:srgbClr val="D26E25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6" name="Straight Arrow Connector 1105">
            <a:extLst>
              <a:ext uri="{FF2B5EF4-FFF2-40B4-BE49-F238E27FC236}">
                <a16:creationId xmlns:a16="http://schemas.microsoft.com/office/drawing/2014/main" id="{8ED45E7B-8D65-DC1C-609C-03B7678438D5}"/>
              </a:ext>
            </a:extLst>
          </p:cNvPr>
          <p:cNvCxnSpPr>
            <a:cxnSpLocks/>
          </p:cNvCxnSpPr>
          <p:nvPr/>
        </p:nvCxnSpPr>
        <p:spPr>
          <a:xfrm flipV="1">
            <a:off x="4179927" y="4065158"/>
            <a:ext cx="2694596" cy="4368"/>
          </a:xfrm>
          <a:prstGeom prst="straightConnector1">
            <a:avLst/>
          </a:prstGeom>
          <a:ln w="19050">
            <a:solidFill>
              <a:srgbClr val="D26E25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5" name="Straight Arrow Connector 1114">
            <a:extLst>
              <a:ext uri="{FF2B5EF4-FFF2-40B4-BE49-F238E27FC236}">
                <a16:creationId xmlns:a16="http://schemas.microsoft.com/office/drawing/2014/main" id="{C52C223A-EE05-F30D-3324-87CB9CBC8E67}"/>
              </a:ext>
            </a:extLst>
          </p:cNvPr>
          <p:cNvCxnSpPr>
            <a:cxnSpLocks/>
            <a:endCxn id="1080" idx="1"/>
          </p:cNvCxnSpPr>
          <p:nvPr/>
        </p:nvCxnSpPr>
        <p:spPr>
          <a:xfrm>
            <a:off x="4225169" y="2272783"/>
            <a:ext cx="723404" cy="0"/>
          </a:xfrm>
          <a:prstGeom prst="straightConnector1">
            <a:avLst/>
          </a:prstGeom>
          <a:ln w="19050">
            <a:solidFill>
              <a:srgbClr val="D26E25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9" name="Tekstvak 25">
            <a:extLst>
              <a:ext uri="{FF2B5EF4-FFF2-40B4-BE49-F238E27FC236}">
                <a16:creationId xmlns:a16="http://schemas.microsoft.com/office/drawing/2014/main" id="{D8E369E6-DB78-AE6A-E8D2-783F25657F8F}"/>
              </a:ext>
            </a:extLst>
          </p:cNvPr>
          <p:cNvSpPr txBox="1"/>
          <p:nvPr/>
        </p:nvSpPr>
        <p:spPr>
          <a:xfrm>
            <a:off x="4219475" y="1990339"/>
            <a:ext cx="6838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900">
                <a:solidFill>
                  <a:schemeClr val="bg1"/>
                </a:solidFill>
                <a:latin typeface="Calibri"/>
                <a:cs typeface="Calibri"/>
              </a:rPr>
              <a:t>Personalia</a:t>
            </a:r>
          </a:p>
        </p:txBody>
      </p:sp>
      <p:sp>
        <p:nvSpPr>
          <p:cNvPr id="4" name="Stroomdiagram: Alternatief proces 3">
            <a:extLst>
              <a:ext uri="{FF2B5EF4-FFF2-40B4-BE49-F238E27FC236}">
                <a16:creationId xmlns:a16="http://schemas.microsoft.com/office/drawing/2014/main" id="{15F6E2AD-0A0C-5621-0654-0E8112305882}"/>
              </a:ext>
            </a:extLst>
          </p:cNvPr>
          <p:cNvSpPr/>
          <p:nvPr/>
        </p:nvSpPr>
        <p:spPr>
          <a:xfrm>
            <a:off x="3253811" y="3548977"/>
            <a:ext cx="926116" cy="1023875"/>
          </a:xfrm>
          <a:prstGeom prst="flowChartAlternateProcess">
            <a:avLst/>
          </a:prstGeom>
          <a:solidFill>
            <a:schemeClr val="bg1"/>
          </a:solidFill>
          <a:ln w="38100">
            <a:solidFill>
              <a:srgbClr val="D26E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000">
                <a:solidFill>
                  <a:schemeClr val="accent2"/>
                </a:solidFill>
                <a:latin typeface="Calibri"/>
                <a:cs typeface="Calibri"/>
              </a:rPr>
              <a:t>Registrati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15F9FED-CB53-BE3B-D03A-421CBA2455B2}"/>
              </a:ext>
            </a:extLst>
          </p:cNvPr>
          <p:cNvGrpSpPr/>
          <p:nvPr/>
        </p:nvGrpSpPr>
        <p:grpSpPr>
          <a:xfrm>
            <a:off x="685051" y="1579713"/>
            <a:ext cx="540000" cy="540000"/>
            <a:chOff x="708746" y="3781863"/>
            <a:chExt cx="540000" cy="540000"/>
          </a:xfrm>
          <a:solidFill>
            <a:srgbClr val="222124"/>
          </a:solidFill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C9ADF1A8-C7AA-EA85-5B1B-DAA68A05744E}"/>
                </a:ext>
              </a:extLst>
            </p:cNvPr>
            <p:cNvSpPr/>
            <p:nvPr/>
          </p:nvSpPr>
          <p:spPr>
            <a:xfrm>
              <a:off x="708746" y="3781863"/>
              <a:ext cx="540000" cy="540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1000">
                  <a:latin typeface="Calibri"/>
                  <a:cs typeface="Calibri"/>
                </a:rPr>
                <a:t>08</a:t>
              </a:r>
            </a:p>
            <a:p>
              <a:pPr algn="ctr"/>
              <a:r>
                <a:rPr lang="nl-BE" sz="1000">
                  <a:latin typeface="Calibri"/>
                  <a:cs typeface="Calibri"/>
                </a:rPr>
                <a:t>04</a:t>
              </a:r>
              <a:endParaRPr lang="nl-BE" sz="800">
                <a:latin typeface="Calibri"/>
                <a:cs typeface="Calibri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0D906E2-C667-31F4-908E-3E22F5E18E9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6431" y="3831573"/>
              <a:ext cx="438518" cy="438518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1600">
                  <a:latin typeface="Calibri"/>
                  <a:cs typeface="Calibri"/>
                </a:rPr>
                <a:t>1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FBC4BDF-197E-2DD6-C45B-6251B673BB3D}"/>
              </a:ext>
            </a:extLst>
          </p:cNvPr>
          <p:cNvGrpSpPr/>
          <p:nvPr/>
        </p:nvGrpSpPr>
        <p:grpSpPr>
          <a:xfrm>
            <a:off x="671044" y="2466362"/>
            <a:ext cx="540000" cy="540000"/>
            <a:chOff x="708746" y="3781863"/>
            <a:chExt cx="540000" cy="540000"/>
          </a:xfrm>
          <a:solidFill>
            <a:srgbClr val="222124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ECA2DF7A-91AD-4EEC-8885-8C5F162773C8}"/>
                </a:ext>
              </a:extLst>
            </p:cNvPr>
            <p:cNvSpPr/>
            <p:nvPr/>
          </p:nvSpPr>
          <p:spPr>
            <a:xfrm>
              <a:off x="708746" y="3781863"/>
              <a:ext cx="540000" cy="540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1000">
                  <a:latin typeface="Calibri"/>
                  <a:cs typeface="Calibri"/>
                </a:rPr>
                <a:t>08</a:t>
              </a:r>
            </a:p>
            <a:p>
              <a:pPr algn="ctr"/>
              <a:r>
                <a:rPr lang="nl-BE" sz="1000">
                  <a:latin typeface="Calibri"/>
                  <a:cs typeface="Calibri"/>
                </a:rPr>
                <a:t>04</a:t>
              </a:r>
              <a:endParaRPr lang="nl-BE" sz="800">
                <a:latin typeface="Calibri"/>
                <a:cs typeface="Calibri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E20A9B7-5D98-6ECA-BC19-12E50C0630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6431" y="3831573"/>
              <a:ext cx="438518" cy="438518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1600">
                  <a:latin typeface="Calibri"/>
                  <a:cs typeface="Calibri"/>
                </a:rPr>
                <a:t>2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1883220-D93C-8EF8-CB6A-F3F28EB7504E}"/>
              </a:ext>
            </a:extLst>
          </p:cNvPr>
          <p:cNvGrpSpPr/>
          <p:nvPr/>
        </p:nvGrpSpPr>
        <p:grpSpPr>
          <a:xfrm>
            <a:off x="685356" y="3807227"/>
            <a:ext cx="540000" cy="540000"/>
            <a:chOff x="708746" y="3781863"/>
            <a:chExt cx="540000" cy="540000"/>
          </a:xfrm>
          <a:solidFill>
            <a:schemeClr val="tx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CF0E8DCB-5F11-D423-33E2-2447900E2158}"/>
                </a:ext>
              </a:extLst>
            </p:cNvPr>
            <p:cNvSpPr/>
            <p:nvPr/>
          </p:nvSpPr>
          <p:spPr>
            <a:xfrm>
              <a:off x="708746" y="3781863"/>
              <a:ext cx="540000" cy="540000"/>
            </a:xfrm>
            <a:prstGeom prst="ellipse">
              <a:avLst/>
            </a:prstGeom>
            <a:solidFill>
              <a:srgbClr val="22212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1000">
                  <a:latin typeface="Calibri"/>
                  <a:cs typeface="Calibri"/>
                </a:rPr>
                <a:t>08</a:t>
              </a:r>
            </a:p>
            <a:p>
              <a:pPr algn="ctr"/>
              <a:r>
                <a:rPr lang="nl-BE" sz="1000">
                  <a:latin typeface="Calibri"/>
                  <a:cs typeface="Calibri"/>
                </a:rPr>
                <a:t>04</a:t>
              </a:r>
              <a:endParaRPr lang="nl-BE" sz="800">
                <a:latin typeface="Calibri"/>
                <a:cs typeface="Calibri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6FD54582-C095-7460-C323-8D2AD7E9DD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6431" y="3831573"/>
              <a:ext cx="438518" cy="438518"/>
            </a:xfrm>
            <a:prstGeom prst="ellipse">
              <a:avLst/>
            </a:prstGeom>
            <a:solidFill>
              <a:srgbClr val="22212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1600">
                  <a:latin typeface="Calibri"/>
                  <a:cs typeface="Calibri"/>
                </a:rPr>
                <a:t>3</a:t>
              </a:r>
            </a:p>
          </p:txBody>
        </p:sp>
      </p:grpSp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35C1AA8B-3760-8E51-7849-B3B4D86710A0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462313" y="3290232"/>
            <a:ext cx="1042284" cy="529644"/>
          </a:xfrm>
          <a:prstGeom prst="bentConnector3">
            <a:avLst>
              <a:gd name="adj1" fmla="val 99805"/>
            </a:avLst>
          </a:prstGeom>
          <a:ln w="19050">
            <a:solidFill>
              <a:srgbClr val="D26E25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4" name="Tekstvak 15">
            <a:extLst>
              <a:ext uri="{FF2B5EF4-FFF2-40B4-BE49-F238E27FC236}">
                <a16:creationId xmlns:a16="http://schemas.microsoft.com/office/drawing/2014/main" id="{AA1AE1C3-480A-DB28-FF7D-B77103510A68}"/>
              </a:ext>
            </a:extLst>
          </p:cNvPr>
          <p:cNvSpPr txBox="1"/>
          <p:nvPr/>
        </p:nvSpPr>
        <p:spPr>
          <a:xfrm>
            <a:off x="4615953" y="3143762"/>
            <a:ext cx="13129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BE"/>
            </a:defPPr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nl-BE">
                <a:latin typeface="Calibri"/>
                <a:cs typeface="Calibri"/>
              </a:rPr>
              <a:t>Overige </a:t>
            </a:r>
            <a:r>
              <a:rPr lang="nl-BE" err="1">
                <a:latin typeface="Calibri"/>
                <a:cs typeface="Calibri"/>
              </a:rPr>
              <a:t>RL’s</a:t>
            </a:r>
            <a:endParaRPr lang="nl-BE">
              <a:latin typeface="Calibri"/>
              <a:cs typeface="Calibri"/>
            </a:endParaRPr>
          </a:p>
        </p:txBody>
      </p:sp>
      <p:cxnSp>
        <p:nvCxnSpPr>
          <p:cNvPr id="1025" name="Straight Arrow Connector 1024">
            <a:extLst>
              <a:ext uri="{FF2B5EF4-FFF2-40B4-BE49-F238E27FC236}">
                <a16:creationId xmlns:a16="http://schemas.microsoft.com/office/drawing/2014/main" id="{508DAC72-094E-1BD7-C80E-C4C3D1795F40}"/>
              </a:ext>
            </a:extLst>
          </p:cNvPr>
          <p:cNvCxnSpPr>
            <a:cxnSpLocks/>
          </p:cNvCxnSpPr>
          <p:nvPr/>
        </p:nvCxnSpPr>
        <p:spPr>
          <a:xfrm flipV="1">
            <a:off x="4179927" y="3139878"/>
            <a:ext cx="2673311" cy="10353"/>
          </a:xfrm>
          <a:prstGeom prst="straightConnector1">
            <a:avLst/>
          </a:prstGeom>
          <a:ln w="19050">
            <a:solidFill>
              <a:srgbClr val="D26E25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47966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0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0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0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0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081" grpId="0"/>
      <p:bldP spid="1082" grpId="0"/>
      <p:bldP spid="1119" grpId="0"/>
      <p:bldP spid="4" grpId="0" animBg="1"/>
      <p:bldP spid="102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F9F741B-8E68-5B29-BF01-A730C072293A}"/>
              </a:ext>
            </a:extLst>
          </p:cNvPr>
          <p:cNvSpPr/>
          <p:nvPr/>
        </p:nvSpPr>
        <p:spPr>
          <a:xfrm>
            <a:off x="5709128" y="-2195"/>
            <a:ext cx="4391403" cy="5436816"/>
          </a:xfrm>
          <a:prstGeom prst="rect">
            <a:avLst/>
          </a:prstGeom>
          <a:solidFill>
            <a:srgbClr val="22212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/>
              <a:cs typeface="Calibri"/>
            </a:endParaRPr>
          </a:p>
        </p:txBody>
      </p:sp>
      <p:pic>
        <p:nvPicPr>
          <p:cNvPr id="17" name="Picture 16" descr="A group of mailboxes on a wall&#10;&#10;Description automatically generated">
            <a:extLst>
              <a:ext uri="{FF2B5EF4-FFF2-40B4-BE49-F238E27FC236}">
                <a16:creationId xmlns:a16="http://schemas.microsoft.com/office/drawing/2014/main" id="{2EAA7D8B-4EC8-75E9-61E4-260533C696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7910" y="420734"/>
            <a:ext cx="6785823" cy="4302032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8CD06B46-EDCF-8EC4-DDD2-0B90C5D5C905}"/>
              </a:ext>
            </a:extLst>
          </p:cNvPr>
          <p:cNvSpPr/>
          <p:nvPr/>
        </p:nvSpPr>
        <p:spPr>
          <a:xfrm rot="1500000">
            <a:off x="-132199" y="-1770409"/>
            <a:ext cx="6788290" cy="730310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/>
              <a:cs typeface="Calibri"/>
            </a:endParaRPr>
          </a:p>
        </p:txBody>
      </p:sp>
      <p:graphicFrame>
        <p:nvGraphicFramePr>
          <p:cNvPr id="5" name="Tabel 9">
            <a:extLst>
              <a:ext uri="{FF2B5EF4-FFF2-40B4-BE49-F238E27FC236}">
                <a16:creationId xmlns:a16="http://schemas.microsoft.com/office/drawing/2014/main" id="{A93C22A9-72D8-41DF-6A20-5AB4E1F84C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2601308"/>
              </p:ext>
            </p:extLst>
          </p:nvPr>
        </p:nvGraphicFramePr>
        <p:xfrm>
          <a:off x="2569363" y="2598937"/>
          <a:ext cx="2679690" cy="222504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679690">
                  <a:extLst>
                    <a:ext uri="{9D8B030D-6E8A-4147-A177-3AD203B41FA5}">
                      <a16:colId xmlns:a16="http://schemas.microsoft.com/office/drawing/2014/main" val="3020005031"/>
                    </a:ext>
                  </a:extLst>
                </a:gridCol>
              </a:tblGrid>
              <a:tr h="500941">
                <a:tc>
                  <a:txBody>
                    <a:bodyPr/>
                    <a:lstStyle/>
                    <a:p>
                      <a:r>
                        <a:rPr lang="nl-BE" sz="1400">
                          <a:solidFill>
                            <a:schemeClr val="bg1"/>
                          </a:solidFill>
                          <a:latin typeface="Calibri"/>
                        </a:rPr>
                        <a:t>3) </a:t>
                      </a:r>
                      <a:r>
                        <a:rPr lang="nl-BE" sz="1400" u="sng">
                          <a:solidFill>
                            <a:schemeClr val="bg1"/>
                          </a:solidFill>
                          <a:latin typeface="Calibri"/>
                        </a:rPr>
                        <a:t>Registratie</a:t>
                      </a:r>
                      <a:r>
                        <a:rPr lang="nl-BE" sz="1400">
                          <a:solidFill>
                            <a:schemeClr val="bg1"/>
                          </a:solidFill>
                          <a:latin typeface="Calibri"/>
                        </a:rPr>
                        <a:t> overige </a:t>
                      </a:r>
                      <a:r>
                        <a:rPr lang="nl-BE" sz="1400" err="1">
                          <a:solidFill>
                            <a:schemeClr val="bg1"/>
                          </a:solidFill>
                          <a:latin typeface="Calibri"/>
                        </a:rPr>
                        <a:t>RL’s</a:t>
                      </a:r>
                      <a:r>
                        <a:rPr lang="nl-BE" sz="1400">
                          <a:solidFill>
                            <a:schemeClr val="bg1"/>
                          </a:solidFill>
                          <a:latin typeface="Calibri"/>
                        </a:rPr>
                        <a:t> Personee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4025135"/>
                  </a:ext>
                </a:extLst>
              </a:tr>
              <a:tr h="235737">
                <a:tc>
                  <a:txBody>
                    <a:bodyPr/>
                    <a:lstStyle/>
                    <a:p>
                      <a:r>
                        <a:rPr lang="nl-BE" sz="1000" b="1">
                          <a:latin typeface="Calibri"/>
                        </a:rPr>
                        <a:t>RL 8 - cumul </a:t>
                      </a:r>
                      <a:r>
                        <a:rPr lang="nl-BE" sz="1000" b="0">
                          <a:latin typeface="Calibri"/>
                        </a:rPr>
                        <a:t>(stopgezet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680084"/>
                  </a:ext>
                </a:extLst>
              </a:tr>
              <a:tr h="235737">
                <a:tc>
                  <a:txBody>
                    <a:bodyPr/>
                    <a:lstStyle/>
                    <a:p>
                      <a:r>
                        <a:rPr lang="nl-BE" sz="1000" b="1">
                          <a:latin typeface="Calibri"/>
                        </a:rPr>
                        <a:t>RL 10 - melden </a:t>
                      </a:r>
                      <a:r>
                        <a:rPr lang="nl-BE" sz="1000" b="1" err="1">
                          <a:latin typeface="Calibri"/>
                        </a:rPr>
                        <a:t>plage</a:t>
                      </a:r>
                      <a:r>
                        <a:rPr lang="nl-BE" sz="1000" b="1">
                          <a:latin typeface="Calibri"/>
                        </a:rPr>
                        <a:t>-ure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474391"/>
                  </a:ext>
                </a:extLst>
              </a:tr>
              <a:tr h="235737">
                <a:tc>
                  <a:txBody>
                    <a:bodyPr/>
                    <a:lstStyle/>
                    <a:p>
                      <a:r>
                        <a:rPr lang="nl-BE" sz="1000" b="1">
                          <a:latin typeface="Calibri"/>
                        </a:rPr>
                        <a:t>RL 11 - </a:t>
                      </a:r>
                      <a:r>
                        <a:rPr lang="nl-BE" sz="1000" b="1" err="1">
                          <a:latin typeface="Calibri"/>
                        </a:rPr>
                        <a:t>Dimona</a:t>
                      </a:r>
                      <a:endParaRPr lang="nl-BE" sz="1000" b="1">
                        <a:latin typeface="Calibri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3933557"/>
                  </a:ext>
                </a:extLst>
              </a:tr>
              <a:tr h="235737">
                <a:tc>
                  <a:txBody>
                    <a:bodyPr/>
                    <a:lstStyle/>
                    <a:p>
                      <a:r>
                        <a:rPr lang="nl-BE" sz="1000" b="1">
                          <a:latin typeface="Calibri"/>
                        </a:rPr>
                        <a:t>RL 13 - premie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5746189"/>
                  </a:ext>
                </a:extLst>
              </a:tr>
              <a:tr h="235737">
                <a:tc>
                  <a:txBody>
                    <a:bodyPr/>
                    <a:lstStyle/>
                    <a:p>
                      <a:r>
                        <a:rPr lang="nl-BE" sz="1000" b="1">
                          <a:latin typeface="Calibri"/>
                        </a:rPr>
                        <a:t>RL 16 - IGU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5229787"/>
                  </a:ext>
                </a:extLst>
              </a:tr>
              <a:tr h="235737">
                <a:tc>
                  <a:txBody>
                    <a:bodyPr/>
                    <a:lstStyle/>
                    <a:p>
                      <a:r>
                        <a:rPr lang="nl-BE" sz="1000" b="1">
                          <a:latin typeface="Calibri"/>
                        </a:rPr>
                        <a:t>RL 17 - VA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7622212"/>
                  </a:ext>
                </a:extLst>
              </a:tr>
              <a:tr h="235737">
                <a:tc>
                  <a:txBody>
                    <a:bodyPr/>
                    <a:lstStyle/>
                    <a:p>
                      <a:r>
                        <a:rPr lang="nl-BE" sz="1000" b="1">
                          <a:latin typeface="Calibri"/>
                        </a:rPr>
                        <a:t>RL 18 - stopzetting VA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2167271"/>
                  </a:ext>
                </a:extLst>
              </a:tr>
            </a:tbl>
          </a:graphicData>
        </a:graphic>
      </p:graphicFrame>
      <p:graphicFrame>
        <p:nvGraphicFramePr>
          <p:cNvPr id="10" name="Tabel 9">
            <a:extLst>
              <a:ext uri="{FF2B5EF4-FFF2-40B4-BE49-F238E27FC236}">
                <a16:creationId xmlns:a16="http://schemas.microsoft.com/office/drawing/2014/main" id="{6C4E63AD-3E37-4633-426E-B1EEF340DA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9048722"/>
              </p:ext>
            </p:extLst>
          </p:nvPr>
        </p:nvGraphicFramePr>
        <p:xfrm>
          <a:off x="468193" y="936058"/>
          <a:ext cx="1906893" cy="198120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906893">
                  <a:extLst>
                    <a:ext uri="{9D8B030D-6E8A-4147-A177-3AD203B41FA5}">
                      <a16:colId xmlns:a16="http://schemas.microsoft.com/office/drawing/2014/main" val="3184481817"/>
                    </a:ext>
                  </a:extLst>
                </a:gridCol>
              </a:tblGrid>
              <a:tr h="500941">
                <a:tc>
                  <a:txBody>
                    <a:bodyPr/>
                    <a:lstStyle/>
                    <a:p>
                      <a:r>
                        <a:rPr lang="nl-BE" sz="1400">
                          <a:solidFill>
                            <a:schemeClr val="bg1"/>
                          </a:solidFill>
                          <a:latin typeface="Calibri"/>
                        </a:rPr>
                        <a:t>1) </a:t>
                      </a:r>
                      <a:r>
                        <a:rPr lang="nl-BE" sz="1400" u="sng">
                          <a:solidFill>
                            <a:schemeClr val="bg1"/>
                          </a:solidFill>
                          <a:latin typeface="Calibri"/>
                        </a:rPr>
                        <a:t>Registratie</a:t>
                      </a:r>
                      <a:r>
                        <a:rPr lang="nl-BE" sz="1400">
                          <a:solidFill>
                            <a:schemeClr val="bg1"/>
                          </a:solidFill>
                          <a:latin typeface="Calibri"/>
                        </a:rPr>
                        <a:t> en </a:t>
                      </a:r>
                      <a:r>
                        <a:rPr lang="nl-BE" sz="1400" u="sng">
                          <a:solidFill>
                            <a:schemeClr val="bg1"/>
                          </a:solidFill>
                          <a:latin typeface="Calibri"/>
                        </a:rPr>
                        <a:t>verwerking</a:t>
                      </a:r>
                      <a:r>
                        <a:rPr lang="nl-BE" sz="1400">
                          <a:solidFill>
                            <a:schemeClr val="bg1"/>
                          </a:solidFill>
                          <a:latin typeface="Calibri"/>
                        </a:rPr>
                        <a:t> Personali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4025135"/>
                  </a:ext>
                </a:extLst>
              </a:tr>
              <a:tr h="235737">
                <a:tc>
                  <a:txBody>
                    <a:bodyPr/>
                    <a:lstStyle/>
                    <a:p>
                      <a:r>
                        <a:rPr lang="nl-BE" sz="1000" b="1">
                          <a:latin typeface="Calibri"/>
                        </a:rPr>
                        <a:t>RL 5 - woonplaat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4201508"/>
                  </a:ext>
                </a:extLst>
              </a:tr>
              <a:tr h="235737">
                <a:tc>
                  <a:txBody>
                    <a:bodyPr/>
                    <a:lstStyle/>
                    <a:p>
                      <a:r>
                        <a:rPr lang="nl-BE" sz="1000" b="1">
                          <a:latin typeface="Calibri"/>
                        </a:rPr>
                        <a:t>RL 6 - verblijfplaat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8645614"/>
                  </a:ext>
                </a:extLst>
              </a:tr>
              <a:tr h="235737">
                <a:tc>
                  <a:txBody>
                    <a:bodyPr/>
                    <a:lstStyle/>
                    <a:p>
                      <a:r>
                        <a:rPr lang="nl-BE" sz="1000" b="1">
                          <a:latin typeface="Calibri"/>
                        </a:rPr>
                        <a:t>RL 7 - familiale toestand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9302349"/>
                  </a:ext>
                </a:extLst>
              </a:tr>
              <a:tr h="235737">
                <a:tc>
                  <a:txBody>
                    <a:bodyPr/>
                    <a:lstStyle/>
                    <a:p>
                      <a:r>
                        <a:rPr lang="nl-BE" sz="1000" b="1">
                          <a:latin typeface="Calibri"/>
                        </a:rPr>
                        <a:t>RL 9 - </a:t>
                      </a:r>
                      <a:r>
                        <a:rPr lang="nl-BE" sz="1000" b="1" err="1">
                          <a:latin typeface="Calibri"/>
                        </a:rPr>
                        <a:t>immatriculatie</a:t>
                      </a:r>
                      <a:endParaRPr lang="nl-BE" sz="1000" b="1">
                        <a:latin typeface="Calibri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8596752"/>
                  </a:ext>
                </a:extLst>
              </a:tr>
              <a:tr h="235737">
                <a:tc>
                  <a:txBody>
                    <a:bodyPr/>
                    <a:lstStyle/>
                    <a:p>
                      <a:r>
                        <a:rPr lang="nl-BE" sz="1000" b="1">
                          <a:latin typeface="Calibri"/>
                        </a:rPr>
                        <a:t>RL 14 - rekeningnumm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3769743"/>
                  </a:ext>
                </a:extLst>
              </a:tr>
              <a:tr h="235737">
                <a:tc>
                  <a:txBody>
                    <a:bodyPr/>
                    <a:lstStyle/>
                    <a:p>
                      <a:r>
                        <a:rPr lang="nl-BE" sz="1000" b="1">
                          <a:latin typeface="Calibri"/>
                        </a:rPr>
                        <a:t>RL 15 - e-mailadre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1858963"/>
                  </a:ext>
                </a:extLst>
              </a:tr>
            </a:tbl>
          </a:graphicData>
        </a:graphic>
      </p:graphicFrame>
      <p:graphicFrame>
        <p:nvGraphicFramePr>
          <p:cNvPr id="11" name="Tabel 9">
            <a:extLst>
              <a:ext uri="{FF2B5EF4-FFF2-40B4-BE49-F238E27FC236}">
                <a16:creationId xmlns:a16="http://schemas.microsoft.com/office/drawing/2014/main" id="{11EF47BB-B737-746B-BB9E-A4133978AA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2073987"/>
              </p:ext>
            </p:extLst>
          </p:nvPr>
        </p:nvGraphicFramePr>
        <p:xfrm>
          <a:off x="2585764" y="936058"/>
          <a:ext cx="2663289" cy="149352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663289">
                  <a:extLst>
                    <a:ext uri="{9D8B030D-6E8A-4147-A177-3AD203B41FA5}">
                      <a16:colId xmlns:a16="http://schemas.microsoft.com/office/drawing/2014/main" val="2999747207"/>
                    </a:ext>
                  </a:extLst>
                </a:gridCol>
              </a:tblGrid>
              <a:tr h="500941">
                <a:tc>
                  <a:txBody>
                    <a:bodyPr/>
                    <a:lstStyle/>
                    <a:p>
                      <a:r>
                        <a:rPr lang="nl-BE" sz="1400">
                          <a:solidFill>
                            <a:schemeClr val="bg1"/>
                          </a:solidFill>
                          <a:latin typeface="Calibri"/>
                        </a:rPr>
                        <a:t>2) </a:t>
                      </a:r>
                      <a:r>
                        <a:rPr lang="nl-BE" sz="1400" u="sng">
                          <a:solidFill>
                            <a:schemeClr val="bg1"/>
                          </a:solidFill>
                          <a:latin typeface="Calibri"/>
                        </a:rPr>
                        <a:t>Registratie</a:t>
                      </a:r>
                      <a:r>
                        <a:rPr lang="nl-BE" sz="1400">
                          <a:solidFill>
                            <a:schemeClr val="bg1"/>
                          </a:solidFill>
                          <a:latin typeface="Calibri"/>
                        </a:rPr>
                        <a:t> van opdrachten en dienstonderbrekin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4025135"/>
                  </a:ext>
                </a:extLst>
              </a:tr>
              <a:tr h="235737">
                <a:tc>
                  <a:txBody>
                    <a:bodyPr/>
                    <a:lstStyle/>
                    <a:p>
                      <a:r>
                        <a:rPr lang="nl-BE" sz="1000" b="1">
                          <a:latin typeface="Calibri"/>
                        </a:rPr>
                        <a:t>RL 1 - opdrachten en </a:t>
                      </a:r>
                      <a:r>
                        <a:rPr lang="nl-BE" sz="1000" b="1" err="1">
                          <a:latin typeface="Calibri"/>
                        </a:rPr>
                        <a:t>opdrachtgebonden</a:t>
                      </a:r>
                      <a:r>
                        <a:rPr lang="nl-BE" sz="1000" b="1">
                          <a:latin typeface="Calibri"/>
                        </a:rPr>
                        <a:t> </a:t>
                      </a:r>
                      <a:r>
                        <a:rPr lang="nl-BE" sz="1000" b="1" err="1">
                          <a:latin typeface="Calibri"/>
                        </a:rPr>
                        <a:t>DO’s</a:t>
                      </a:r>
                      <a:endParaRPr lang="nl-BE" sz="1000" b="1">
                        <a:latin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7457196"/>
                  </a:ext>
                </a:extLst>
              </a:tr>
              <a:tr h="235737">
                <a:tc>
                  <a:txBody>
                    <a:bodyPr/>
                    <a:lstStyle/>
                    <a:p>
                      <a:r>
                        <a:rPr lang="nl-BE" sz="1000" b="1">
                          <a:latin typeface="Calibri"/>
                        </a:rPr>
                        <a:t>RL 2 -  dienstonderbrekin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1493869"/>
                  </a:ext>
                </a:extLst>
              </a:tr>
              <a:tr h="235737">
                <a:tc>
                  <a:txBody>
                    <a:bodyPr/>
                    <a:lstStyle/>
                    <a:p>
                      <a:r>
                        <a:rPr lang="nl-BE" sz="1000" b="1">
                          <a:latin typeface="Calibri"/>
                        </a:rPr>
                        <a:t>RL 4 - beëindiging opdracht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6264787"/>
                  </a:ext>
                </a:extLst>
              </a:tr>
              <a:tr h="235737">
                <a:tc>
                  <a:txBody>
                    <a:bodyPr/>
                    <a:lstStyle/>
                    <a:p>
                      <a:r>
                        <a:rPr lang="nl-BE" sz="1000" b="1">
                          <a:latin typeface="Calibri"/>
                        </a:rPr>
                        <a:t>RL 12 - opdrachten hoger onderwij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4842865"/>
                  </a:ext>
                </a:extLst>
              </a:tr>
            </a:tbl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CBE778EA-55DC-4E1F-453C-89E76B40C1DA}"/>
              </a:ext>
            </a:extLst>
          </p:cNvPr>
          <p:cNvGrpSpPr/>
          <p:nvPr/>
        </p:nvGrpSpPr>
        <p:grpSpPr>
          <a:xfrm flipH="1">
            <a:off x="-775634" y="4175456"/>
            <a:ext cx="1681333" cy="1583319"/>
            <a:chOff x="8275101" y="4292024"/>
            <a:chExt cx="1681333" cy="158331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82A590D-91D9-C052-2BE5-0929139E2382}"/>
                </a:ext>
              </a:extLst>
            </p:cNvPr>
            <p:cNvSpPr/>
            <p:nvPr/>
          </p:nvSpPr>
          <p:spPr>
            <a:xfrm rot="18104199">
              <a:off x="8284674" y="4833234"/>
              <a:ext cx="1032536" cy="1051681"/>
            </a:xfrm>
            <a:prstGeom prst="rect">
              <a:avLst/>
            </a:prstGeom>
            <a:solidFill>
              <a:srgbClr val="D26E2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/>
                <a:cs typeface="Calibri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6C88A42-7444-B37A-084F-2D2359DC897B}"/>
                </a:ext>
              </a:extLst>
            </p:cNvPr>
            <p:cNvSpPr/>
            <p:nvPr/>
          </p:nvSpPr>
          <p:spPr>
            <a:xfrm rot="20606124">
              <a:off x="8730086" y="4292024"/>
              <a:ext cx="1226348" cy="1242590"/>
            </a:xfrm>
            <a:prstGeom prst="rect">
              <a:avLst/>
            </a:prstGeom>
            <a:solidFill>
              <a:srgbClr val="22212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/>
                <a:cs typeface="Calibri"/>
              </a:endParaRPr>
            </a:p>
          </p:txBody>
        </p:sp>
        <p:pic>
          <p:nvPicPr>
            <p:cNvPr id="12" name="Picture 2" descr="Evaluaties &amp; enquêtes">
              <a:extLst>
                <a:ext uri="{FF2B5EF4-FFF2-40B4-BE49-F238E27FC236}">
                  <a16:creationId xmlns:a16="http://schemas.microsoft.com/office/drawing/2014/main" id="{68A41EEF-118F-8B33-0C97-74712F6A180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54" r="81029"/>
            <a:stretch/>
          </p:blipFill>
          <p:spPr bwMode="auto">
            <a:xfrm>
              <a:off x="8730143" y="4514757"/>
              <a:ext cx="369388" cy="7572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C76C50F7-D66F-EAC9-2A47-A92F6718D925}"/>
              </a:ext>
            </a:extLst>
          </p:cNvPr>
          <p:cNvSpPr/>
          <p:nvPr/>
        </p:nvSpPr>
        <p:spPr>
          <a:xfrm rot="3495801" flipH="1">
            <a:off x="6962053" y="-459161"/>
            <a:ext cx="961135" cy="958737"/>
          </a:xfrm>
          <a:prstGeom prst="rect">
            <a:avLst/>
          </a:prstGeom>
          <a:solidFill>
            <a:srgbClr val="D26E2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/>
              <a:cs typeface="Calibri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030B198-2A1E-8636-3B1D-934398521F47}"/>
              </a:ext>
            </a:extLst>
          </p:cNvPr>
          <p:cNvSpPr/>
          <p:nvPr/>
        </p:nvSpPr>
        <p:spPr>
          <a:xfrm rot="1500000">
            <a:off x="6341797" y="-620191"/>
            <a:ext cx="569061" cy="6707184"/>
          </a:xfrm>
          <a:prstGeom prst="rect">
            <a:avLst/>
          </a:prstGeom>
          <a:solidFill>
            <a:srgbClr val="22212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/>
              <a:cs typeface="Calibri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100440EB-CB18-1531-BC0A-A9E3582676E0}"/>
              </a:ext>
            </a:extLst>
          </p:cNvPr>
          <p:cNvSpPr/>
          <p:nvPr/>
        </p:nvSpPr>
        <p:spPr>
          <a:xfrm>
            <a:off x="400050" y="838200"/>
            <a:ext cx="2027914" cy="2367797"/>
          </a:xfrm>
          <a:prstGeom prst="roundRect">
            <a:avLst>
              <a:gd name="adj" fmla="val 4915"/>
            </a:avLst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/>
              <a:cs typeface="Calibri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98B11CE-5129-63E0-1F73-8363E39782CB}"/>
              </a:ext>
            </a:extLst>
          </p:cNvPr>
          <p:cNvGrpSpPr/>
          <p:nvPr/>
        </p:nvGrpSpPr>
        <p:grpSpPr>
          <a:xfrm>
            <a:off x="687745" y="2943838"/>
            <a:ext cx="1397834" cy="856648"/>
            <a:chOff x="1063919" y="766803"/>
            <a:chExt cx="1397834" cy="856648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A5DD375-D13D-9391-BDD8-36F87A77B080}"/>
                </a:ext>
              </a:extLst>
            </p:cNvPr>
            <p:cNvGrpSpPr/>
            <p:nvPr/>
          </p:nvGrpSpPr>
          <p:grpSpPr>
            <a:xfrm>
              <a:off x="1063919" y="766803"/>
              <a:ext cx="1397834" cy="856648"/>
              <a:chOff x="1754865" y="3519653"/>
              <a:chExt cx="1397834" cy="856648"/>
            </a:xfrm>
          </p:grpSpPr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60DF9843-B972-9E59-50F9-A542660B9EE1}"/>
                  </a:ext>
                </a:extLst>
              </p:cNvPr>
              <p:cNvSpPr txBox="1"/>
              <p:nvPr/>
            </p:nvSpPr>
            <p:spPr>
              <a:xfrm>
                <a:off x="1754865" y="4068524"/>
                <a:ext cx="1397834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nl-BE" sz="1400">
                    <a:latin typeface="Calibri"/>
                    <a:cs typeface="Calibri"/>
                  </a:rPr>
                  <a:t>IPS1</a:t>
                </a:r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F13585E2-664A-79FD-C43D-E06190BE8D9F}"/>
                  </a:ext>
                </a:extLst>
              </p:cNvPr>
              <p:cNvGrpSpPr/>
              <p:nvPr/>
            </p:nvGrpSpPr>
            <p:grpSpPr>
              <a:xfrm>
                <a:off x="2190987" y="3519653"/>
                <a:ext cx="540000" cy="540000"/>
                <a:chOff x="708746" y="3781863"/>
                <a:chExt cx="540000" cy="540000"/>
              </a:xfrm>
            </p:grpSpPr>
            <p:sp>
              <p:nvSpPr>
                <p:cNvPr id="27" name="Oval 26">
                  <a:extLst>
                    <a:ext uri="{FF2B5EF4-FFF2-40B4-BE49-F238E27FC236}">
                      <a16:creationId xmlns:a16="http://schemas.microsoft.com/office/drawing/2014/main" id="{B8DB11DC-4867-7FA0-1FAD-EE51BC9E4BB5}"/>
                    </a:ext>
                  </a:extLst>
                </p:cNvPr>
                <p:cNvSpPr/>
                <p:nvPr/>
              </p:nvSpPr>
              <p:spPr>
                <a:xfrm>
                  <a:off x="708746" y="3781863"/>
                  <a:ext cx="540000" cy="540000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BE" sz="800">
                    <a:latin typeface="Calibri"/>
                    <a:cs typeface="Calibri"/>
                  </a:endParaRPr>
                </a:p>
              </p:txBody>
            </p:sp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88C11C60-6BD9-F64A-1178-1123F1D76D7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56431" y="3831573"/>
                  <a:ext cx="438518" cy="438518"/>
                </a:xfrm>
                <a:prstGeom prst="ellipse">
                  <a:avLst/>
                </a:prstGeom>
                <a:grpFill/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BE" sz="1600">
                    <a:latin typeface="Calibri"/>
                    <a:cs typeface="Calibri"/>
                  </a:endParaRPr>
                </a:p>
              </p:txBody>
            </p:sp>
          </p:grp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D5E41616-0FCF-CF3E-DBFA-09734F66608A}"/>
                </a:ext>
              </a:extLst>
            </p:cNvPr>
            <p:cNvGrpSpPr/>
            <p:nvPr/>
          </p:nvGrpSpPr>
          <p:grpSpPr>
            <a:xfrm>
              <a:off x="1525084" y="801184"/>
              <a:ext cx="475504" cy="459281"/>
              <a:chOff x="2230600" y="3261664"/>
              <a:chExt cx="914400" cy="914400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738AB1F5-7C8D-1361-F22E-B885BB9B5D0D}"/>
                  </a:ext>
                </a:extLst>
              </p:cNvPr>
              <p:cNvSpPr/>
              <p:nvPr/>
            </p:nvSpPr>
            <p:spPr>
              <a:xfrm>
                <a:off x="2432468" y="3485883"/>
                <a:ext cx="540000" cy="53999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sz="800">
                  <a:latin typeface="Calibri"/>
                  <a:cs typeface="Calibri"/>
                </a:endParaRPr>
              </a:p>
            </p:txBody>
          </p:sp>
          <p:pic>
            <p:nvPicPr>
              <p:cNvPr id="21" name="Graphic 20" descr="Badge Tick1 with solid fill">
                <a:extLst>
                  <a:ext uri="{FF2B5EF4-FFF2-40B4-BE49-F238E27FC236}">
                    <a16:creationId xmlns:a16="http://schemas.microsoft.com/office/drawing/2014/main" id="{71C39826-AF70-235E-40E6-B25BD8F68E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230600" y="3261664"/>
                <a:ext cx="914400" cy="914400"/>
              </a:xfrm>
              <a:prstGeom prst="rect">
                <a:avLst/>
              </a:prstGeom>
            </p:spPr>
          </p:pic>
        </p:grpSp>
      </p:grpSp>
      <p:sp>
        <p:nvSpPr>
          <p:cNvPr id="48" name="Title 1">
            <a:extLst>
              <a:ext uri="{FF2B5EF4-FFF2-40B4-BE49-F238E27FC236}">
                <a16:creationId xmlns:a16="http://schemas.microsoft.com/office/drawing/2014/main" id="{5217D3FF-B237-143D-EAD7-97F7B0AF1B54}"/>
              </a:ext>
            </a:extLst>
          </p:cNvPr>
          <p:cNvSpPr txBox="1">
            <a:spLocks/>
          </p:cNvSpPr>
          <p:nvPr/>
        </p:nvSpPr>
        <p:spPr>
          <a:xfrm>
            <a:off x="241441" y="194155"/>
            <a:ext cx="7886700" cy="9941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850"/>
              </a:lnSpc>
              <a:spcBef>
                <a:spcPct val="0"/>
              </a:spcBef>
              <a:buNone/>
              <a:defRPr sz="277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b="1">
                <a:solidFill>
                  <a:srgbClr val="222124"/>
                </a:solidFill>
                <a:latin typeface="Calibri"/>
                <a:cs typeface="Calibri"/>
              </a:rPr>
              <a:t>HIGH LEVEL - </a:t>
            </a:r>
            <a:r>
              <a:rPr lang="nl-BE" b="1" err="1">
                <a:solidFill>
                  <a:srgbClr val="222124"/>
                </a:solidFill>
                <a:latin typeface="Calibri"/>
                <a:cs typeface="Calibri"/>
              </a:rPr>
              <a:t>RL’s</a:t>
            </a:r>
            <a:endParaRPr lang="nl-BE" b="1">
              <a:solidFill>
                <a:srgbClr val="222124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7179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65" name="Straight Connector 1064">
            <a:extLst>
              <a:ext uri="{FF2B5EF4-FFF2-40B4-BE49-F238E27FC236}">
                <a16:creationId xmlns:a16="http://schemas.microsoft.com/office/drawing/2014/main" id="{9CAD17BA-7B7B-2E5F-B2E0-89D502BA0783}"/>
              </a:ext>
            </a:extLst>
          </p:cNvPr>
          <p:cNvCxnSpPr>
            <a:cxnSpLocks/>
          </p:cNvCxnSpPr>
          <p:nvPr/>
        </p:nvCxnSpPr>
        <p:spPr>
          <a:xfrm>
            <a:off x="502852" y="3778250"/>
            <a:ext cx="7579310" cy="0"/>
          </a:xfrm>
          <a:prstGeom prst="line">
            <a:avLst/>
          </a:prstGeom>
          <a:ln>
            <a:solidFill>
              <a:srgbClr val="D26E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troomdiagram: Alternatief proces 3">
            <a:extLst>
              <a:ext uri="{FF2B5EF4-FFF2-40B4-BE49-F238E27FC236}">
                <a16:creationId xmlns:a16="http://schemas.microsoft.com/office/drawing/2014/main" id="{F21B17FB-DA6A-1FF3-20A2-26FCB572AC70}"/>
              </a:ext>
            </a:extLst>
          </p:cNvPr>
          <p:cNvSpPr/>
          <p:nvPr/>
        </p:nvSpPr>
        <p:spPr>
          <a:xfrm>
            <a:off x="127000" y="1385790"/>
            <a:ext cx="8836046" cy="1510533"/>
          </a:xfrm>
          <a:prstGeom prst="flowChartAlternateProcess">
            <a:avLst/>
          </a:prstGeom>
          <a:solidFill>
            <a:schemeClr val="bg1"/>
          </a:solidFill>
          <a:ln w="38100">
            <a:gradFill>
              <a:gsLst>
                <a:gs pos="14000">
                  <a:schemeClr val="accent1">
                    <a:lumMod val="5000"/>
                    <a:lumOff val="95000"/>
                  </a:schemeClr>
                </a:gs>
                <a:gs pos="45000">
                  <a:srgbClr val="D26E25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00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nl-BE" sz="100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38" name="Rectangle: Rounded Corners 1037">
            <a:extLst>
              <a:ext uri="{FF2B5EF4-FFF2-40B4-BE49-F238E27FC236}">
                <a16:creationId xmlns:a16="http://schemas.microsoft.com/office/drawing/2014/main" id="{1C648F40-9E44-3EDF-2A48-235AF3759C45}"/>
              </a:ext>
            </a:extLst>
          </p:cNvPr>
          <p:cNvSpPr/>
          <p:nvPr/>
        </p:nvSpPr>
        <p:spPr>
          <a:xfrm>
            <a:off x="7216653" y="1210831"/>
            <a:ext cx="1701322" cy="1655480"/>
          </a:xfrm>
          <a:prstGeom prst="roundRect">
            <a:avLst>
              <a:gd name="adj" fmla="val 8787"/>
            </a:avLst>
          </a:prstGeom>
          <a:gradFill flip="none" rotWithShape="1">
            <a:gsLst>
              <a:gs pos="68000">
                <a:srgbClr val="222124"/>
              </a:gs>
              <a:gs pos="94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l-BE">
                <a:latin typeface="Calibri" panose="020F0502020204030204" pitchFamily="34" charset="0"/>
                <a:cs typeface="Calibri" panose="020F0502020204030204" pitchFamily="34" charset="0"/>
              </a:rPr>
              <a:t>2024-Q2</a:t>
            </a:r>
          </a:p>
        </p:txBody>
      </p:sp>
      <p:sp>
        <p:nvSpPr>
          <p:cNvPr id="1037" name="Rectangle: Rounded Corners 1036">
            <a:extLst>
              <a:ext uri="{FF2B5EF4-FFF2-40B4-BE49-F238E27FC236}">
                <a16:creationId xmlns:a16="http://schemas.microsoft.com/office/drawing/2014/main" id="{4ADAAD9F-33B4-481E-1F44-BFBDB70EFBC6}"/>
              </a:ext>
            </a:extLst>
          </p:cNvPr>
          <p:cNvSpPr/>
          <p:nvPr/>
        </p:nvSpPr>
        <p:spPr>
          <a:xfrm>
            <a:off x="5468392" y="1235399"/>
            <a:ext cx="1701322" cy="1655480"/>
          </a:xfrm>
          <a:prstGeom prst="roundRect">
            <a:avLst>
              <a:gd name="adj" fmla="val 8787"/>
            </a:avLst>
          </a:prstGeom>
          <a:gradFill flip="none" rotWithShape="1">
            <a:gsLst>
              <a:gs pos="68000">
                <a:srgbClr val="222124"/>
              </a:gs>
              <a:gs pos="94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l-BE">
                <a:latin typeface="Calibri" panose="020F0502020204030204" pitchFamily="34" charset="0"/>
                <a:cs typeface="Calibri" panose="020F0502020204030204" pitchFamily="34" charset="0"/>
              </a:rPr>
              <a:t>2024-Q1</a:t>
            </a:r>
          </a:p>
        </p:txBody>
      </p:sp>
      <p:sp>
        <p:nvSpPr>
          <p:cNvPr id="1036" name="Rectangle: Rounded Corners 1035">
            <a:extLst>
              <a:ext uri="{FF2B5EF4-FFF2-40B4-BE49-F238E27FC236}">
                <a16:creationId xmlns:a16="http://schemas.microsoft.com/office/drawing/2014/main" id="{BADC2405-7C93-F786-8B76-878542B98620}"/>
              </a:ext>
            </a:extLst>
          </p:cNvPr>
          <p:cNvSpPr/>
          <p:nvPr/>
        </p:nvSpPr>
        <p:spPr>
          <a:xfrm>
            <a:off x="3703984" y="1214889"/>
            <a:ext cx="1701322" cy="1685615"/>
          </a:xfrm>
          <a:prstGeom prst="roundRect">
            <a:avLst>
              <a:gd name="adj" fmla="val 8787"/>
            </a:avLst>
          </a:prstGeom>
          <a:gradFill flip="none" rotWithShape="1">
            <a:gsLst>
              <a:gs pos="68000">
                <a:srgbClr val="222124"/>
              </a:gs>
              <a:gs pos="94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l-BE">
                <a:latin typeface="Calibri" panose="020F0502020204030204" pitchFamily="34" charset="0"/>
                <a:cs typeface="Calibri" panose="020F0502020204030204" pitchFamily="34" charset="0"/>
              </a:rPr>
              <a:t>2023-Q4 </a:t>
            </a:r>
          </a:p>
        </p:txBody>
      </p:sp>
      <p:sp>
        <p:nvSpPr>
          <p:cNvPr id="1035" name="Rectangle: Rounded Corners 1034">
            <a:extLst>
              <a:ext uri="{FF2B5EF4-FFF2-40B4-BE49-F238E27FC236}">
                <a16:creationId xmlns:a16="http://schemas.microsoft.com/office/drawing/2014/main" id="{BE9BCCD4-B54C-040F-A9AA-5804EF08F40D}"/>
              </a:ext>
            </a:extLst>
          </p:cNvPr>
          <p:cNvSpPr/>
          <p:nvPr/>
        </p:nvSpPr>
        <p:spPr>
          <a:xfrm>
            <a:off x="1941136" y="1214890"/>
            <a:ext cx="1701322" cy="1689674"/>
          </a:xfrm>
          <a:prstGeom prst="roundRect">
            <a:avLst>
              <a:gd name="adj" fmla="val 8787"/>
            </a:avLst>
          </a:prstGeom>
          <a:gradFill flip="none" rotWithShape="1">
            <a:gsLst>
              <a:gs pos="68000">
                <a:srgbClr val="222124"/>
              </a:gs>
              <a:gs pos="94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l-BE">
                <a:latin typeface="Calibri" panose="020F0502020204030204" pitchFamily="34" charset="0"/>
                <a:cs typeface="Calibri" panose="020F0502020204030204" pitchFamily="34" charset="0"/>
              </a:rPr>
              <a:t>2023-Q3 </a:t>
            </a:r>
          </a:p>
        </p:txBody>
      </p:sp>
      <p:sp>
        <p:nvSpPr>
          <p:cNvPr id="1034" name="Rectangle: Rounded Corners 1033">
            <a:extLst>
              <a:ext uri="{FF2B5EF4-FFF2-40B4-BE49-F238E27FC236}">
                <a16:creationId xmlns:a16="http://schemas.microsoft.com/office/drawing/2014/main" id="{0C62CDE2-8AEF-A46B-2A9B-3AD88AA6172D}"/>
              </a:ext>
            </a:extLst>
          </p:cNvPr>
          <p:cNvSpPr/>
          <p:nvPr/>
        </p:nvSpPr>
        <p:spPr>
          <a:xfrm>
            <a:off x="180954" y="1214890"/>
            <a:ext cx="1701322" cy="1689675"/>
          </a:xfrm>
          <a:prstGeom prst="roundRect">
            <a:avLst>
              <a:gd name="adj" fmla="val 8787"/>
            </a:avLst>
          </a:prstGeom>
          <a:gradFill flip="none" rotWithShape="1">
            <a:gsLst>
              <a:gs pos="68000">
                <a:srgbClr val="222124"/>
              </a:gs>
              <a:gs pos="94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l-BE">
                <a:latin typeface="Calibri" panose="020F0502020204030204" pitchFamily="34" charset="0"/>
                <a:cs typeface="Calibri" panose="020F0502020204030204" pitchFamily="34" charset="0"/>
              </a:rPr>
              <a:t>… </a:t>
            </a:r>
            <a:r>
              <a:rPr lang="nl-BE" sz="1800">
                <a:latin typeface="Calibri" panose="020F0502020204030204" pitchFamily="34" charset="0"/>
                <a:cs typeface="Calibri" panose="020F0502020204030204" pitchFamily="34" charset="0"/>
              </a:rPr>
              <a:t>2023-Q2 </a:t>
            </a:r>
            <a:endParaRPr lang="nl-B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nl-B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56A70D8-4C39-163B-D1D6-1900E3669D6D}"/>
              </a:ext>
            </a:extLst>
          </p:cNvPr>
          <p:cNvGrpSpPr/>
          <p:nvPr/>
        </p:nvGrpSpPr>
        <p:grpSpPr>
          <a:xfrm>
            <a:off x="8275101" y="4292024"/>
            <a:ext cx="1681333" cy="1583319"/>
            <a:chOff x="8275101" y="4292024"/>
            <a:chExt cx="1681333" cy="1583319"/>
          </a:xfrm>
        </p:grpSpPr>
        <p:sp>
          <p:nvSpPr>
            <p:cNvPr id="1095" name="Rectangle 1094">
              <a:extLst>
                <a:ext uri="{FF2B5EF4-FFF2-40B4-BE49-F238E27FC236}">
                  <a16:creationId xmlns:a16="http://schemas.microsoft.com/office/drawing/2014/main" id="{C54D964F-2A56-9F17-C819-C2C496B7EB67}"/>
                </a:ext>
              </a:extLst>
            </p:cNvPr>
            <p:cNvSpPr/>
            <p:nvPr/>
          </p:nvSpPr>
          <p:spPr>
            <a:xfrm rot="18104199">
              <a:off x="8284674" y="4833234"/>
              <a:ext cx="1032536" cy="1051681"/>
            </a:xfrm>
            <a:prstGeom prst="rect">
              <a:avLst/>
            </a:prstGeom>
            <a:solidFill>
              <a:srgbClr val="D26E2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96" name="Rectangle 1095">
              <a:extLst>
                <a:ext uri="{FF2B5EF4-FFF2-40B4-BE49-F238E27FC236}">
                  <a16:creationId xmlns:a16="http://schemas.microsoft.com/office/drawing/2014/main" id="{D01D7769-3A10-F0AC-103D-143CDA5675F9}"/>
                </a:ext>
              </a:extLst>
            </p:cNvPr>
            <p:cNvSpPr/>
            <p:nvPr/>
          </p:nvSpPr>
          <p:spPr>
            <a:xfrm rot="20606124">
              <a:off x="8730086" y="4292024"/>
              <a:ext cx="1226348" cy="1242590"/>
            </a:xfrm>
            <a:prstGeom prst="rect">
              <a:avLst/>
            </a:prstGeom>
            <a:solidFill>
              <a:srgbClr val="22212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097" name="Picture 2" descr="Evaluaties &amp; enquêtes">
              <a:extLst>
                <a:ext uri="{FF2B5EF4-FFF2-40B4-BE49-F238E27FC236}">
                  <a16:creationId xmlns:a16="http://schemas.microsoft.com/office/drawing/2014/main" id="{6A0B41A7-EEB4-F3E5-3E48-7A430E63A1F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54" r="81029"/>
            <a:stretch/>
          </p:blipFill>
          <p:spPr bwMode="auto">
            <a:xfrm>
              <a:off x="8730143" y="4514757"/>
              <a:ext cx="369388" cy="7572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E67EA7E6-85C1-D6B6-998D-83ED00D2AB9D}"/>
              </a:ext>
            </a:extLst>
          </p:cNvPr>
          <p:cNvSpPr txBox="1">
            <a:spLocks/>
          </p:cNvSpPr>
          <p:nvPr/>
        </p:nvSpPr>
        <p:spPr>
          <a:xfrm>
            <a:off x="628650" y="183987"/>
            <a:ext cx="7886700" cy="9941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850"/>
              </a:lnSpc>
              <a:spcBef>
                <a:spcPct val="0"/>
              </a:spcBef>
              <a:buNone/>
              <a:defRPr sz="277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l-BE" b="1">
                <a:latin typeface="Calibri" panose="020F0502020204030204" pitchFamily="34" charset="0"/>
                <a:cs typeface="Calibri" panose="020F0502020204030204" pitchFamily="34" charset="0"/>
              </a:rPr>
              <a:t>TERUGBLIK</a:t>
            </a:r>
          </a:p>
        </p:txBody>
      </p:sp>
      <p:sp>
        <p:nvSpPr>
          <p:cNvPr id="15" name="Rectangle: Rounded Corners 16">
            <a:extLst>
              <a:ext uri="{FF2B5EF4-FFF2-40B4-BE49-F238E27FC236}">
                <a16:creationId xmlns:a16="http://schemas.microsoft.com/office/drawing/2014/main" id="{8A9B3670-A4E9-164D-965F-F63A69B11E8D}"/>
              </a:ext>
            </a:extLst>
          </p:cNvPr>
          <p:cNvSpPr/>
          <p:nvPr/>
        </p:nvSpPr>
        <p:spPr>
          <a:xfrm>
            <a:off x="262272" y="1667111"/>
            <a:ext cx="1544227" cy="552930"/>
          </a:xfrm>
          <a:prstGeom prst="roundRect">
            <a:avLst>
              <a:gd name="adj" fmla="val 10638"/>
            </a:avLst>
          </a:prstGeom>
          <a:solidFill>
            <a:srgbClr val="D26E25"/>
          </a:solidFill>
          <a:ln>
            <a:solidFill>
              <a:srgbClr val="D26E2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i="1" err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ormatierondes</a:t>
            </a:r>
            <a:r>
              <a:rPr lang="en-US" sz="900" i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+ </a:t>
            </a:r>
            <a:r>
              <a:rPr lang="en-US" sz="900" i="1" err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zet</a:t>
            </a:r>
            <a:r>
              <a:rPr lang="en-US" sz="900" i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i="1" err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  <a:r>
              <a:rPr lang="en-US" sz="900" i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+ </a:t>
            </a:r>
            <a:r>
              <a:rPr lang="en-US" sz="900" i="1" err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maken</a:t>
            </a:r>
            <a:r>
              <a:rPr lang="en-US" sz="900" i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PI-design Personalia</a:t>
            </a:r>
          </a:p>
        </p:txBody>
      </p:sp>
      <p:sp>
        <p:nvSpPr>
          <p:cNvPr id="16" name="Rectangle: Rounded Corners 18">
            <a:extLst>
              <a:ext uri="{FF2B5EF4-FFF2-40B4-BE49-F238E27FC236}">
                <a16:creationId xmlns:a16="http://schemas.microsoft.com/office/drawing/2014/main" id="{CAD32DCA-ACC7-F215-D4E5-B2CA9312EA76}"/>
              </a:ext>
            </a:extLst>
          </p:cNvPr>
          <p:cNvSpPr/>
          <p:nvPr/>
        </p:nvSpPr>
        <p:spPr>
          <a:xfrm>
            <a:off x="1985295" y="1648202"/>
            <a:ext cx="754879" cy="301039"/>
          </a:xfrm>
          <a:prstGeom prst="roundRect">
            <a:avLst/>
          </a:prstGeom>
          <a:solidFill>
            <a:srgbClr val="D26E25"/>
          </a:solidFill>
          <a:ln>
            <a:solidFill>
              <a:srgbClr val="D26E2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i="1" err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atie</a:t>
            </a:r>
            <a:r>
              <a:rPr lang="en-US" sz="900" i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 sz="900" i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i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-design</a:t>
            </a:r>
          </a:p>
        </p:txBody>
      </p:sp>
      <p:sp>
        <p:nvSpPr>
          <p:cNvPr id="17" name="Rectangle: Rounded Corners 18">
            <a:extLst>
              <a:ext uri="{FF2B5EF4-FFF2-40B4-BE49-F238E27FC236}">
                <a16:creationId xmlns:a16="http://schemas.microsoft.com/office/drawing/2014/main" id="{72018EB3-F83E-435F-2EA4-BCA7582F009E}"/>
              </a:ext>
            </a:extLst>
          </p:cNvPr>
          <p:cNvSpPr/>
          <p:nvPr/>
        </p:nvSpPr>
        <p:spPr>
          <a:xfrm>
            <a:off x="2675693" y="2035401"/>
            <a:ext cx="2669738" cy="309076"/>
          </a:xfrm>
          <a:prstGeom prst="roundRect">
            <a:avLst/>
          </a:prstGeom>
          <a:solidFill>
            <a:srgbClr val="D26E25"/>
          </a:solidFill>
          <a:ln>
            <a:solidFill>
              <a:srgbClr val="D26E2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i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edback mail of </a:t>
            </a:r>
            <a:r>
              <a:rPr lang="en-US" sz="900" i="1" err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thub</a:t>
            </a:r>
            <a:endParaRPr lang="en-US" sz="900" i="1">
              <a:solidFill>
                <a:schemeClr val="bg1">
                  <a:lumMod val="9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ectangle: Rounded Corners 18">
            <a:extLst>
              <a:ext uri="{FF2B5EF4-FFF2-40B4-BE49-F238E27FC236}">
                <a16:creationId xmlns:a16="http://schemas.microsoft.com/office/drawing/2014/main" id="{1E536A87-00CB-7073-ED15-F1004D6D5312}"/>
              </a:ext>
            </a:extLst>
          </p:cNvPr>
          <p:cNvSpPr/>
          <p:nvPr/>
        </p:nvSpPr>
        <p:spPr>
          <a:xfrm>
            <a:off x="5494526" y="1663207"/>
            <a:ext cx="1646350" cy="309076"/>
          </a:xfrm>
          <a:prstGeom prst="roundRect">
            <a:avLst/>
          </a:prstGeom>
          <a:solidFill>
            <a:srgbClr val="D26E25"/>
          </a:solidFill>
          <a:ln>
            <a:solidFill>
              <a:srgbClr val="D26E2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i="1" err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omgeving</a:t>
            </a:r>
            <a:r>
              <a:rPr lang="en-US" sz="900" i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et dummy data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7CCC898-982B-FBEF-C972-6373CC137578}"/>
              </a:ext>
            </a:extLst>
          </p:cNvPr>
          <p:cNvSpPr txBox="1"/>
          <p:nvPr/>
        </p:nvSpPr>
        <p:spPr>
          <a:xfrm>
            <a:off x="502852" y="4096748"/>
            <a:ext cx="1692691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900" i="1">
                <a:latin typeface="Calibri" panose="020F0502020204030204" pitchFamily="34" charset="0"/>
                <a:cs typeface="Calibri" panose="020F0502020204030204" pitchFamily="34" charset="0"/>
              </a:rPr>
              <a:t>Scenariotesten door de functionele analisten</a:t>
            </a:r>
          </a:p>
          <a:p>
            <a:r>
              <a:rPr lang="nl-BE" sz="900" i="1">
                <a:latin typeface="Calibri" panose="020F0502020204030204" pitchFamily="34" charset="0"/>
                <a:cs typeface="Calibri" panose="020F0502020204030204" pitchFamily="34" charset="0"/>
              </a:rPr>
              <a:t>Laadtesten, Duurtesten</a:t>
            </a:r>
          </a:p>
          <a:p>
            <a:r>
              <a:rPr lang="nl-BE" sz="900" i="1" err="1">
                <a:latin typeface="Calibri" panose="020F0502020204030204" pitchFamily="34" charset="0"/>
                <a:cs typeface="Calibri" panose="020F0502020204030204" pitchFamily="34" charset="0"/>
              </a:rPr>
              <a:t>Datamigratietest</a:t>
            </a:r>
            <a:endParaRPr lang="nl-BE" sz="900" i="1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nl-BE" sz="900" i="1">
                <a:latin typeface="Calibri" panose="020F0502020204030204" pitchFamily="34" charset="0"/>
                <a:cs typeface="Calibri" panose="020F0502020204030204" pitchFamily="34" charset="0"/>
              </a:rPr>
              <a:t>Beperkte SWL-testen</a:t>
            </a:r>
          </a:p>
        </p:txBody>
      </p:sp>
      <p:sp>
        <p:nvSpPr>
          <p:cNvPr id="1029" name="Rectangle: Rounded Corners 21">
            <a:extLst>
              <a:ext uri="{FF2B5EF4-FFF2-40B4-BE49-F238E27FC236}">
                <a16:creationId xmlns:a16="http://schemas.microsoft.com/office/drawing/2014/main" id="{922A2AEE-EE64-7676-0037-50B76B4E1E16}"/>
              </a:ext>
            </a:extLst>
          </p:cNvPr>
          <p:cNvSpPr/>
          <p:nvPr/>
        </p:nvSpPr>
        <p:spPr>
          <a:xfrm>
            <a:off x="5858145" y="2052558"/>
            <a:ext cx="1282731" cy="309076"/>
          </a:xfrm>
          <a:prstGeom prst="roundRect">
            <a:avLst/>
          </a:prstGeom>
          <a:solidFill>
            <a:srgbClr val="D26E25"/>
          </a:solidFill>
          <a:ln>
            <a:solidFill>
              <a:srgbClr val="D26E2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i="1" err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en</a:t>
            </a:r>
            <a:r>
              <a:rPr lang="en-US" sz="900" i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et </a:t>
            </a:r>
            <a:r>
              <a:rPr lang="en-US" sz="900" i="1" err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ële</a:t>
            </a:r>
            <a:r>
              <a:rPr lang="en-US" sz="900" i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ata</a:t>
            </a:r>
          </a:p>
        </p:txBody>
      </p:sp>
      <p:sp>
        <p:nvSpPr>
          <p:cNvPr id="1031" name="Rectangle: Rounded Corners 21">
            <a:extLst>
              <a:ext uri="{FF2B5EF4-FFF2-40B4-BE49-F238E27FC236}">
                <a16:creationId xmlns:a16="http://schemas.microsoft.com/office/drawing/2014/main" id="{ECABF158-2972-5345-3D91-7B10DC2CB36E}"/>
              </a:ext>
            </a:extLst>
          </p:cNvPr>
          <p:cNvSpPr/>
          <p:nvPr/>
        </p:nvSpPr>
        <p:spPr>
          <a:xfrm>
            <a:off x="7619460" y="1959667"/>
            <a:ext cx="433648" cy="309076"/>
          </a:xfrm>
          <a:prstGeom prst="roundRect">
            <a:avLst/>
          </a:prstGeom>
          <a:solidFill>
            <a:srgbClr val="D26E25"/>
          </a:solidFill>
          <a:ln>
            <a:solidFill>
              <a:srgbClr val="D26E2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i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PS1</a:t>
            </a:r>
          </a:p>
        </p:txBody>
      </p:sp>
      <p:sp>
        <p:nvSpPr>
          <p:cNvPr id="1033" name="Rectangle: Rounded Corners 21">
            <a:extLst>
              <a:ext uri="{FF2B5EF4-FFF2-40B4-BE49-F238E27FC236}">
                <a16:creationId xmlns:a16="http://schemas.microsoft.com/office/drawing/2014/main" id="{541A264D-4DFE-B878-EC3C-20C93CED6F5E}"/>
              </a:ext>
            </a:extLst>
          </p:cNvPr>
          <p:cNvSpPr/>
          <p:nvPr/>
        </p:nvSpPr>
        <p:spPr>
          <a:xfrm>
            <a:off x="7232691" y="1662591"/>
            <a:ext cx="433648" cy="309076"/>
          </a:xfrm>
          <a:prstGeom prst="roundRect">
            <a:avLst/>
          </a:prstGeom>
          <a:solidFill>
            <a:srgbClr val="D26E25"/>
          </a:solidFill>
          <a:ln>
            <a:solidFill>
              <a:srgbClr val="D26E2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i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T</a:t>
            </a:r>
          </a:p>
        </p:txBody>
      </p:sp>
      <p:grpSp>
        <p:nvGrpSpPr>
          <p:cNvPr id="1060" name="Group 1059">
            <a:extLst>
              <a:ext uri="{FF2B5EF4-FFF2-40B4-BE49-F238E27FC236}">
                <a16:creationId xmlns:a16="http://schemas.microsoft.com/office/drawing/2014/main" id="{04805EB3-2CF6-924B-9EFB-ECA89F4F2CED}"/>
              </a:ext>
            </a:extLst>
          </p:cNvPr>
          <p:cNvGrpSpPr/>
          <p:nvPr/>
        </p:nvGrpSpPr>
        <p:grpSpPr>
          <a:xfrm>
            <a:off x="375205" y="3204920"/>
            <a:ext cx="1397834" cy="842919"/>
            <a:chOff x="375205" y="3204920"/>
            <a:chExt cx="1397834" cy="842919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AD78C271-C789-A7E2-5BF5-CBF5E384FC97}"/>
                </a:ext>
              </a:extLst>
            </p:cNvPr>
            <p:cNvGrpSpPr/>
            <p:nvPr/>
          </p:nvGrpSpPr>
          <p:grpSpPr>
            <a:xfrm>
              <a:off x="804122" y="3507839"/>
              <a:ext cx="540000" cy="540000"/>
              <a:chOff x="708746" y="3781863"/>
              <a:chExt cx="540000" cy="540000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9FC04C7C-11D5-8BD7-C0DF-B00E18F1BE62}"/>
                  </a:ext>
                </a:extLst>
              </p:cNvPr>
              <p:cNvSpPr/>
              <p:nvPr/>
            </p:nvSpPr>
            <p:spPr>
              <a:xfrm>
                <a:off x="708746" y="3781863"/>
                <a:ext cx="540000" cy="540000"/>
              </a:xfrm>
              <a:prstGeom prst="ellipse">
                <a:avLst/>
              </a:prstGeom>
              <a:solidFill>
                <a:srgbClr val="22212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nl-BE" sz="1000">
                    <a:latin typeface="Calibri" panose="020F0502020204030204" pitchFamily="34" charset="0"/>
                    <a:cs typeface="Calibri" panose="020F0502020204030204" pitchFamily="34" charset="0"/>
                  </a:rPr>
                  <a:t>18</a:t>
                </a:r>
              </a:p>
              <a:p>
                <a:pPr algn="ctr"/>
                <a:r>
                  <a:rPr lang="nl-BE" sz="1000">
                    <a:latin typeface="Calibri" panose="020F0502020204030204" pitchFamily="34" charset="0"/>
                    <a:cs typeface="Calibri" panose="020F0502020204030204" pitchFamily="34" charset="0"/>
                  </a:rPr>
                  <a:t>03</a:t>
                </a:r>
                <a:endParaRPr lang="nl-BE"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DEC502F9-6267-D182-3703-76C84AD58B7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56431" y="3831573"/>
                <a:ext cx="438518" cy="438518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sz="16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64F0BA9-F968-4864-B58A-F13D415CDC9A}"/>
                </a:ext>
              </a:extLst>
            </p:cNvPr>
            <p:cNvSpPr txBox="1"/>
            <p:nvPr/>
          </p:nvSpPr>
          <p:spPr>
            <a:xfrm>
              <a:off x="375205" y="3204920"/>
              <a:ext cx="1397834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nl-BE" sz="1400">
                  <a:latin typeface="Calibri" panose="020F0502020204030204" pitchFamily="34" charset="0"/>
                  <a:cs typeface="Calibri" panose="020F0502020204030204" pitchFamily="34" charset="0"/>
                </a:rPr>
                <a:t>Dry run</a:t>
              </a:r>
            </a:p>
          </p:txBody>
        </p:sp>
      </p:grpSp>
      <p:grpSp>
        <p:nvGrpSpPr>
          <p:cNvPr id="1059" name="Group 1058">
            <a:extLst>
              <a:ext uri="{FF2B5EF4-FFF2-40B4-BE49-F238E27FC236}">
                <a16:creationId xmlns:a16="http://schemas.microsoft.com/office/drawing/2014/main" id="{243108AB-0CBB-2E32-AEB0-AF95A858D228}"/>
              </a:ext>
            </a:extLst>
          </p:cNvPr>
          <p:cNvGrpSpPr/>
          <p:nvPr/>
        </p:nvGrpSpPr>
        <p:grpSpPr>
          <a:xfrm>
            <a:off x="1985295" y="2997993"/>
            <a:ext cx="1397834" cy="1029849"/>
            <a:chOff x="1767532" y="3029804"/>
            <a:chExt cx="1397834" cy="1029849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60BA3BB-9EE2-72B2-06F9-ED65483CDC27}"/>
                </a:ext>
              </a:extLst>
            </p:cNvPr>
            <p:cNvSpPr txBox="1"/>
            <p:nvPr/>
          </p:nvSpPr>
          <p:spPr>
            <a:xfrm>
              <a:off x="1767532" y="3029804"/>
              <a:ext cx="139783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nl-BE" sz="1400">
                  <a:latin typeface="Calibri" panose="020F0502020204030204" pitchFamily="34" charset="0"/>
                  <a:cs typeface="Calibri" panose="020F0502020204030204" pitchFamily="34" charset="0"/>
                </a:rPr>
                <a:t>User </a:t>
              </a:r>
              <a:r>
                <a:rPr lang="nl-BE" sz="1400" err="1">
                  <a:latin typeface="Calibri" panose="020F0502020204030204" pitchFamily="34" charset="0"/>
                  <a:cs typeface="Calibri" panose="020F0502020204030204" pitchFamily="34" charset="0"/>
                </a:rPr>
                <a:t>Acceptance</a:t>
              </a:r>
              <a:r>
                <a:rPr lang="nl-BE" sz="1400">
                  <a:latin typeface="Calibri" panose="020F0502020204030204" pitchFamily="34" charset="0"/>
                  <a:cs typeface="Calibri" panose="020F0502020204030204" pitchFamily="34" charset="0"/>
                </a:rPr>
                <a:t> Test (UAT)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D492C454-B431-B448-6D4E-B5EA0A8920F1}"/>
                </a:ext>
              </a:extLst>
            </p:cNvPr>
            <p:cNvGrpSpPr/>
            <p:nvPr/>
          </p:nvGrpSpPr>
          <p:grpSpPr>
            <a:xfrm>
              <a:off x="2190987" y="3519653"/>
              <a:ext cx="540000" cy="540000"/>
              <a:chOff x="708746" y="3781863"/>
              <a:chExt cx="540000" cy="54000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95012503-2998-ABFC-7C89-9EFA97C7B3D5}"/>
                  </a:ext>
                </a:extLst>
              </p:cNvPr>
              <p:cNvSpPr/>
              <p:nvPr/>
            </p:nvSpPr>
            <p:spPr>
              <a:xfrm>
                <a:off x="708746" y="3781863"/>
                <a:ext cx="540000" cy="540000"/>
              </a:xfrm>
              <a:prstGeom prst="ellipse">
                <a:avLst/>
              </a:prstGeom>
              <a:solidFill>
                <a:srgbClr val="22212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nl-BE" sz="1000">
                    <a:latin typeface="Calibri" panose="020F0502020204030204" pitchFamily="34" charset="0"/>
                    <a:cs typeface="Calibri" panose="020F0502020204030204" pitchFamily="34" charset="0"/>
                  </a:rPr>
                  <a:t>08</a:t>
                </a:r>
              </a:p>
              <a:p>
                <a:pPr algn="ctr"/>
                <a:r>
                  <a:rPr lang="nl-BE" sz="1000">
                    <a:latin typeface="Calibri" panose="020F0502020204030204" pitchFamily="34" charset="0"/>
                    <a:cs typeface="Calibri" panose="020F0502020204030204" pitchFamily="34" charset="0"/>
                  </a:rPr>
                  <a:t>04</a:t>
                </a:r>
                <a:endParaRPr lang="nl-BE"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2B7C0001-86FC-37EB-944B-D3F9E33CA42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56431" y="3831573"/>
                <a:ext cx="438518" cy="438518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sz="16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sp>
        <p:nvSpPr>
          <p:cNvPr id="1024" name="TextBox 1023">
            <a:extLst>
              <a:ext uri="{FF2B5EF4-FFF2-40B4-BE49-F238E27FC236}">
                <a16:creationId xmlns:a16="http://schemas.microsoft.com/office/drawing/2014/main" id="{11F63193-120C-A1A2-898F-01493B3CE3A2}"/>
              </a:ext>
            </a:extLst>
          </p:cNvPr>
          <p:cNvSpPr txBox="1"/>
          <p:nvPr/>
        </p:nvSpPr>
        <p:spPr>
          <a:xfrm>
            <a:off x="1949015" y="4105891"/>
            <a:ext cx="1692691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900" i="1">
                <a:latin typeface="Calibri" panose="020F0502020204030204" pitchFamily="34" charset="0"/>
                <a:cs typeface="Calibri" panose="020F0502020204030204" pitchFamily="34" charset="0"/>
              </a:rPr>
              <a:t>Scenariotesten door gebruikers</a:t>
            </a:r>
          </a:p>
          <a:p>
            <a:r>
              <a:rPr lang="nl-BE" sz="900" i="1">
                <a:latin typeface="Calibri" panose="020F0502020204030204" pitchFamily="34" charset="0"/>
                <a:cs typeface="Calibri" panose="020F0502020204030204" pitchFamily="34" charset="0"/>
              </a:rPr>
              <a:t>Laadtesten, Duurtesten, Pentesten</a:t>
            </a:r>
          </a:p>
          <a:p>
            <a:r>
              <a:rPr lang="nl-BE" sz="900" i="1" err="1">
                <a:latin typeface="Calibri" panose="020F0502020204030204" pitchFamily="34" charset="0"/>
                <a:cs typeface="Calibri" panose="020F0502020204030204" pitchFamily="34" charset="0"/>
              </a:rPr>
              <a:t>Datamigratietest</a:t>
            </a:r>
            <a:r>
              <a:rPr lang="nl-BE" sz="900" i="1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r>
              <a:rPr lang="nl-BE" sz="900" i="1">
                <a:latin typeface="Calibri" panose="020F0502020204030204" pitchFamily="34" charset="0"/>
                <a:cs typeface="Calibri" panose="020F0502020204030204" pitchFamily="34" charset="0"/>
              </a:rPr>
              <a:t>SWL-testen</a:t>
            </a:r>
          </a:p>
        </p:txBody>
      </p:sp>
      <p:grpSp>
        <p:nvGrpSpPr>
          <p:cNvPr id="1058" name="Group 1057">
            <a:extLst>
              <a:ext uri="{FF2B5EF4-FFF2-40B4-BE49-F238E27FC236}">
                <a16:creationId xmlns:a16="http://schemas.microsoft.com/office/drawing/2014/main" id="{C6E392D9-4A07-8CC4-492D-FBF656CEB15F}"/>
              </a:ext>
            </a:extLst>
          </p:cNvPr>
          <p:cNvGrpSpPr/>
          <p:nvPr/>
        </p:nvGrpSpPr>
        <p:grpSpPr>
          <a:xfrm>
            <a:off x="3575767" y="3204920"/>
            <a:ext cx="1397834" cy="838441"/>
            <a:chOff x="3510718" y="3226648"/>
            <a:chExt cx="1397834" cy="838441"/>
          </a:xfrm>
        </p:grpSpPr>
        <p:sp>
          <p:nvSpPr>
            <p:cNvPr id="1025" name="TextBox 1024">
              <a:extLst>
                <a:ext uri="{FF2B5EF4-FFF2-40B4-BE49-F238E27FC236}">
                  <a16:creationId xmlns:a16="http://schemas.microsoft.com/office/drawing/2014/main" id="{EF3CA3D6-2C22-8BEC-806E-4723C4B4E744}"/>
                </a:ext>
              </a:extLst>
            </p:cNvPr>
            <p:cNvSpPr txBox="1"/>
            <p:nvPr/>
          </p:nvSpPr>
          <p:spPr>
            <a:xfrm>
              <a:off x="3510718" y="3226648"/>
              <a:ext cx="1397834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nl-BE" sz="1400">
                  <a:latin typeface="Calibri" panose="020F0502020204030204" pitchFamily="34" charset="0"/>
                  <a:cs typeface="Calibri" panose="020F0502020204030204" pitchFamily="34" charset="0"/>
                </a:rPr>
                <a:t>Datamigratie</a:t>
              </a:r>
            </a:p>
          </p:txBody>
        </p:sp>
        <p:grpSp>
          <p:nvGrpSpPr>
            <p:cNvPr id="1027" name="Group 1026">
              <a:extLst>
                <a:ext uri="{FF2B5EF4-FFF2-40B4-BE49-F238E27FC236}">
                  <a16:creationId xmlns:a16="http://schemas.microsoft.com/office/drawing/2014/main" id="{4F5B8A33-44A8-8D37-BA61-EE99BF13532C}"/>
                </a:ext>
              </a:extLst>
            </p:cNvPr>
            <p:cNvGrpSpPr/>
            <p:nvPr/>
          </p:nvGrpSpPr>
          <p:grpSpPr>
            <a:xfrm>
              <a:off x="3942691" y="3525089"/>
              <a:ext cx="540000" cy="540000"/>
              <a:chOff x="708746" y="3781863"/>
              <a:chExt cx="540000" cy="540000"/>
            </a:xfrm>
          </p:grpSpPr>
          <p:sp>
            <p:nvSpPr>
              <p:cNvPr id="1028" name="Oval 1027">
                <a:extLst>
                  <a:ext uri="{FF2B5EF4-FFF2-40B4-BE49-F238E27FC236}">
                    <a16:creationId xmlns:a16="http://schemas.microsoft.com/office/drawing/2014/main" id="{3A5E673A-B1A3-C3C8-1317-87E312FBB5C3}"/>
                  </a:ext>
                </a:extLst>
              </p:cNvPr>
              <p:cNvSpPr/>
              <p:nvPr/>
            </p:nvSpPr>
            <p:spPr>
              <a:xfrm>
                <a:off x="708746" y="3781863"/>
                <a:ext cx="540000" cy="540000"/>
              </a:xfrm>
              <a:prstGeom prst="ellipse">
                <a:avLst/>
              </a:prstGeom>
              <a:solidFill>
                <a:srgbClr val="22212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nl-BE" sz="1000">
                    <a:latin typeface="Calibri" panose="020F0502020204030204" pitchFamily="34" charset="0"/>
                    <a:cs typeface="Calibri" panose="020F0502020204030204" pitchFamily="34" charset="0"/>
                  </a:rPr>
                  <a:t>24</a:t>
                </a:r>
              </a:p>
              <a:p>
                <a:pPr algn="ctr"/>
                <a:r>
                  <a:rPr lang="nl-BE" sz="1000">
                    <a:latin typeface="Calibri" panose="020F0502020204030204" pitchFamily="34" charset="0"/>
                    <a:cs typeface="Calibri" panose="020F0502020204030204" pitchFamily="34" charset="0"/>
                  </a:rPr>
                  <a:t>04</a:t>
                </a:r>
                <a:endParaRPr lang="nl-BE"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32" name="Oval 1031">
                <a:extLst>
                  <a:ext uri="{FF2B5EF4-FFF2-40B4-BE49-F238E27FC236}">
                    <a16:creationId xmlns:a16="http://schemas.microsoft.com/office/drawing/2014/main" id="{0BE81C89-9AF1-BF99-AF33-F7DCAA6FA36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56431" y="3831573"/>
                <a:ext cx="438518" cy="438518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sz="16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sp>
        <p:nvSpPr>
          <p:cNvPr id="1039" name="TextBox 1038">
            <a:extLst>
              <a:ext uri="{FF2B5EF4-FFF2-40B4-BE49-F238E27FC236}">
                <a16:creationId xmlns:a16="http://schemas.microsoft.com/office/drawing/2014/main" id="{9B77A22D-5B72-A27C-1A20-5122FAE5278D}"/>
              </a:ext>
            </a:extLst>
          </p:cNvPr>
          <p:cNvSpPr txBox="1"/>
          <p:nvPr/>
        </p:nvSpPr>
        <p:spPr>
          <a:xfrm>
            <a:off x="3700719" y="4111327"/>
            <a:ext cx="1692691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900" i="1">
                <a:latin typeface="Calibri" panose="020F0502020204030204" pitchFamily="34" charset="0"/>
                <a:cs typeface="Calibri" panose="020F0502020204030204" pitchFamily="34" charset="0"/>
              </a:rPr>
              <a:t>Afladen van de gegevens uit EPD</a:t>
            </a:r>
          </a:p>
          <a:p>
            <a:r>
              <a:rPr lang="nl-BE" sz="900" i="1">
                <a:latin typeface="Calibri" panose="020F0502020204030204" pitchFamily="34" charset="0"/>
                <a:cs typeface="Calibri" panose="020F0502020204030204" pitchFamily="34" charset="0"/>
              </a:rPr>
              <a:t>Opladen van de gegevens in Persona</a:t>
            </a:r>
          </a:p>
          <a:p>
            <a:r>
              <a:rPr lang="nl-BE" sz="900" i="1">
                <a:latin typeface="Calibri" panose="020F0502020204030204" pitchFamily="34" charset="0"/>
                <a:cs typeface="Calibri" panose="020F0502020204030204" pitchFamily="34" charset="0"/>
              </a:rPr>
              <a:t>Uitvoeren van events</a:t>
            </a:r>
          </a:p>
          <a:p>
            <a:r>
              <a:rPr lang="nl-BE" sz="900" i="1">
                <a:latin typeface="Calibri" panose="020F0502020204030204" pitchFamily="34" charset="0"/>
                <a:cs typeface="Calibri" panose="020F0502020204030204" pitchFamily="34" charset="0"/>
              </a:rPr>
              <a:t>Inschrijvingen in MAGDA</a:t>
            </a:r>
          </a:p>
        </p:txBody>
      </p:sp>
      <p:grpSp>
        <p:nvGrpSpPr>
          <p:cNvPr id="1057" name="Group 1056">
            <a:extLst>
              <a:ext uri="{FF2B5EF4-FFF2-40B4-BE49-F238E27FC236}">
                <a16:creationId xmlns:a16="http://schemas.microsoft.com/office/drawing/2014/main" id="{A6A632EB-ED07-3A65-0F0A-2704B67D64FC}"/>
              </a:ext>
            </a:extLst>
          </p:cNvPr>
          <p:cNvGrpSpPr/>
          <p:nvPr/>
        </p:nvGrpSpPr>
        <p:grpSpPr>
          <a:xfrm>
            <a:off x="5176048" y="3204920"/>
            <a:ext cx="1397834" cy="860588"/>
            <a:chOff x="5143524" y="3216179"/>
            <a:chExt cx="1397834" cy="860588"/>
          </a:xfrm>
        </p:grpSpPr>
        <p:grpSp>
          <p:nvGrpSpPr>
            <p:cNvPr id="1040" name="Group 1039">
              <a:extLst>
                <a:ext uri="{FF2B5EF4-FFF2-40B4-BE49-F238E27FC236}">
                  <a16:creationId xmlns:a16="http://schemas.microsoft.com/office/drawing/2014/main" id="{C40EA378-FD70-7F29-D621-8A07CBFF8518}"/>
                </a:ext>
              </a:extLst>
            </p:cNvPr>
            <p:cNvGrpSpPr/>
            <p:nvPr/>
          </p:nvGrpSpPr>
          <p:grpSpPr>
            <a:xfrm>
              <a:off x="5575497" y="3536767"/>
              <a:ext cx="540000" cy="540000"/>
              <a:chOff x="708746" y="3781863"/>
              <a:chExt cx="540000" cy="540000"/>
            </a:xfrm>
          </p:grpSpPr>
          <p:sp>
            <p:nvSpPr>
              <p:cNvPr id="1041" name="Oval 1040">
                <a:extLst>
                  <a:ext uri="{FF2B5EF4-FFF2-40B4-BE49-F238E27FC236}">
                    <a16:creationId xmlns:a16="http://schemas.microsoft.com/office/drawing/2014/main" id="{452BA702-AB81-01C8-D874-F59E05D5FB39}"/>
                  </a:ext>
                </a:extLst>
              </p:cNvPr>
              <p:cNvSpPr/>
              <p:nvPr/>
            </p:nvSpPr>
            <p:spPr>
              <a:xfrm>
                <a:off x="708746" y="3781863"/>
                <a:ext cx="540000" cy="540000"/>
              </a:xfrm>
              <a:prstGeom prst="ellipse">
                <a:avLst/>
              </a:prstGeom>
              <a:solidFill>
                <a:srgbClr val="22212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nl-BE" sz="1000">
                    <a:latin typeface="Calibri" panose="020F0502020204030204" pitchFamily="34" charset="0"/>
                    <a:cs typeface="Calibri" panose="020F0502020204030204" pitchFamily="34" charset="0"/>
                  </a:rPr>
                  <a:t>29</a:t>
                </a:r>
              </a:p>
              <a:p>
                <a:pPr algn="ctr"/>
                <a:r>
                  <a:rPr lang="nl-BE" sz="1000">
                    <a:latin typeface="Calibri" panose="020F0502020204030204" pitchFamily="34" charset="0"/>
                    <a:cs typeface="Calibri" panose="020F0502020204030204" pitchFamily="34" charset="0"/>
                  </a:rPr>
                  <a:t>04</a:t>
                </a:r>
                <a:endParaRPr lang="nl-BE"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42" name="Oval 1041">
                <a:extLst>
                  <a:ext uri="{FF2B5EF4-FFF2-40B4-BE49-F238E27FC236}">
                    <a16:creationId xmlns:a16="http://schemas.microsoft.com/office/drawing/2014/main" id="{1EB2C42A-E054-5CB1-47C9-40E0DAD0C22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56431" y="3831573"/>
                <a:ext cx="438518" cy="438518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sz="16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043" name="TextBox 1042">
              <a:extLst>
                <a:ext uri="{FF2B5EF4-FFF2-40B4-BE49-F238E27FC236}">
                  <a16:creationId xmlns:a16="http://schemas.microsoft.com/office/drawing/2014/main" id="{0C33C586-280E-A68E-CF08-529132D7ECF6}"/>
                </a:ext>
              </a:extLst>
            </p:cNvPr>
            <p:cNvSpPr txBox="1"/>
            <p:nvPr/>
          </p:nvSpPr>
          <p:spPr>
            <a:xfrm>
              <a:off x="5143524" y="3216179"/>
              <a:ext cx="1397834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nl-BE" sz="1400">
                  <a:latin typeface="Calibri" panose="020F0502020204030204" pitchFamily="34" charset="0"/>
                  <a:cs typeface="Calibri" panose="020F0502020204030204" pitchFamily="34" charset="0"/>
                </a:rPr>
                <a:t>IPS 1</a:t>
              </a:r>
            </a:p>
          </p:txBody>
        </p:sp>
      </p:grpSp>
      <p:grpSp>
        <p:nvGrpSpPr>
          <p:cNvPr id="1056" name="Group 1055">
            <a:extLst>
              <a:ext uri="{FF2B5EF4-FFF2-40B4-BE49-F238E27FC236}">
                <a16:creationId xmlns:a16="http://schemas.microsoft.com/office/drawing/2014/main" id="{1A528067-9012-74A6-70D4-8C51600403BA}"/>
              </a:ext>
            </a:extLst>
          </p:cNvPr>
          <p:cNvGrpSpPr/>
          <p:nvPr/>
        </p:nvGrpSpPr>
        <p:grpSpPr>
          <a:xfrm>
            <a:off x="6776330" y="3027397"/>
            <a:ext cx="1397834" cy="1025300"/>
            <a:chOff x="6776330" y="3056571"/>
            <a:chExt cx="1397834" cy="1025300"/>
          </a:xfrm>
        </p:grpSpPr>
        <p:grpSp>
          <p:nvGrpSpPr>
            <p:cNvPr id="1044" name="Group 1043">
              <a:extLst>
                <a:ext uri="{FF2B5EF4-FFF2-40B4-BE49-F238E27FC236}">
                  <a16:creationId xmlns:a16="http://schemas.microsoft.com/office/drawing/2014/main" id="{FB3C153D-E874-ED53-F354-056CB740A024}"/>
                </a:ext>
              </a:extLst>
            </p:cNvPr>
            <p:cNvGrpSpPr/>
            <p:nvPr/>
          </p:nvGrpSpPr>
          <p:grpSpPr>
            <a:xfrm>
              <a:off x="7208303" y="3541871"/>
              <a:ext cx="540000" cy="540000"/>
              <a:chOff x="708746" y="3781863"/>
              <a:chExt cx="540000" cy="540000"/>
            </a:xfrm>
          </p:grpSpPr>
          <p:sp>
            <p:nvSpPr>
              <p:cNvPr id="1045" name="Oval 1044">
                <a:extLst>
                  <a:ext uri="{FF2B5EF4-FFF2-40B4-BE49-F238E27FC236}">
                    <a16:creationId xmlns:a16="http://schemas.microsoft.com/office/drawing/2014/main" id="{E02C44CD-F954-140F-99DE-2DCCFA8F9979}"/>
                  </a:ext>
                </a:extLst>
              </p:cNvPr>
              <p:cNvSpPr/>
              <p:nvPr/>
            </p:nvSpPr>
            <p:spPr>
              <a:xfrm>
                <a:off x="708746" y="3781863"/>
                <a:ext cx="540000" cy="540000"/>
              </a:xfrm>
              <a:prstGeom prst="ellipse">
                <a:avLst/>
              </a:prstGeom>
              <a:solidFill>
                <a:srgbClr val="22212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nl-BE" sz="900">
                    <a:latin typeface="Calibri" panose="020F0502020204030204" pitchFamily="34" charset="0"/>
                    <a:cs typeface="Calibri" panose="020F0502020204030204" pitchFamily="34" charset="0"/>
                  </a:rPr>
                  <a:t>Mei</a:t>
                </a:r>
              </a:p>
              <a:p>
                <a:pPr algn="ctr"/>
                <a:r>
                  <a:rPr lang="nl-BE" sz="900">
                    <a:latin typeface="Calibri" panose="020F0502020204030204" pitchFamily="34" charset="0"/>
                    <a:cs typeface="Calibri" panose="020F0502020204030204" pitchFamily="34" charset="0"/>
                  </a:rPr>
                  <a:t>Juni</a:t>
                </a:r>
              </a:p>
            </p:txBody>
          </p:sp>
          <p:sp>
            <p:nvSpPr>
              <p:cNvPr id="1046" name="Oval 1045">
                <a:extLst>
                  <a:ext uri="{FF2B5EF4-FFF2-40B4-BE49-F238E27FC236}">
                    <a16:creationId xmlns:a16="http://schemas.microsoft.com/office/drawing/2014/main" id="{CBE7C663-7F9E-9551-4DA2-3C96FB031F2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56431" y="3831573"/>
                <a:ext cx="438518" cy="438518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sz="16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047" name="TextBox 1046">
              <a:extLst>
                <a:ext uri="{FF2B5EF4-FFF2-40B4-BE49-F238E27FC236}">
                  <a16:creationId xmlns:a16="http://schemas.microsoft.com/office/drawing/2014/main" id="{802B09F5-698D-8C07-B832-64C31DEBBCB9}"/>
                </a:ext>
              </a:extLst>
            </p:cNvPr>
            <p:cNvSpPr txBox="1"/>
            <p:nvPr/>
          </p:nvSpPr>
          <p:spPr>
            <a:xfrm>
              <a:off x="6776330" y="3056571"/>
              <a:ext cx="139783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nl-BE" sz="1400">
                  <a:latin typeface="Calibri" panose="020F0502020204030204" pitchFamily="34" charset="0"/>
                  <a:cs typeface="Calibri" panose="020F0502020204030204" pitchFamily="34" charset="0"/>
                </a:rPr>
                <a:t>Evaluatie</a:t>
              </a:r>
            </a:p>
            <a:p>
              <a:pPr algn="ctr"/>
              <a:r>
                <a:rPr lang="nl-BE" sz="1400">
                  <a:latin typeface="Calibri" panose="020F0502020204030204" pitchFamily="34" charset="0"/>
                  <a:cs typeface="Calibri" panose="020F0502020204030204" pitchFamily="34" charset="0"/>
                </a:rPr>
                <a:t>IPS1 &amp; IPS 1.1</a:t>
              </a:r>
            </a:p>
          </p:txBody>
        </p:sp>
      </p:grpSp>
      <p:sp>
        <p:nvSpPr>
          <p:cNvPr id="1048" name="TextBox 1047">
            <a:extLst>
              <a:ext uri="{FF2B5EF4-FFF2-40B4-BE49-F238E27FC236}">
                <a16:creationId xmlns:a16="http://schemas.microsoft.com/office/drawing/2014/main" id="{48BFC739-3D25-218B-DF46-CA13915884A1}"/>
              </a:ext>
            </a:extLst>
          </p:cNvPr>
          <p:cNvSpPr txBox="1"/>
          <p:nvPr/>
        </p:nvSpPr>
        <p:spPr>
          <a:xfrm>
            <a:off x="6733356" y="4134902"/>
            <a:ext cx="169269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900" i="1">
                <a:latin typeface="Calibri" panose="020F0502020204030204" pitchFamily="34" charset="0"/>
                <a:cs typeface="Calibri" panose="020F0502020204030204" pitchFamily="34" charset="0"/>
              </a:rPr>
              <a:t>Evaluatie IPS 1</a:t>
            </a:r>
          </a:p>
          <a:p>
            <a:r>
              <a:rPr lang="nl-BE" sz="900" i="1" err="1">
                <a:latin typeface="Calibri" panose="020F0502020204030204" pitchFamily="34" charset="0"/>
                <a:cs typeface="Calibri" panose="020F0502020204030204" pitchFamily="34" charset="0"/>
              </a:rPr>
              <a:t>Aftercare</a:t>
            </a:r>
            <a:r>
              <a:rPr lang="nl-BE" sz="900" i="1">
                <a:latin typeface="Calibri" panose="020F0502020204030204" pitchFamily="34" charset="0"/>
                <a:cs typeface="Calibri" panose="020F0502020204030204" pitchFamily="34" charset="0"/>
              </a:rPr>
              <a:t> Personalia (IPS1.1)</a:t>
            </a:r>
          </a:p>
          <a:p>
            <a:r>
              <a:rPr lang="nl-BE" sz="900" i="1">
                <a:latin typeface="Calibri" panose="020F0502020204030204" pitchFamily="34" charset="0"/>
                <a:cs typeface="Calibri" panose="020F0502020204030204" pitchFamily="34" charset="0"/>
              </a:rPr>
              <a:t>Documentatie</a:t>
            </a:r>
          </a:p>
          <a:p>
            <a:r>
              <a:rPr lang="nl-BE" sz="900" i="1">
                <a:latin typeface="Calibri" panose="020F0502020204030204" pitchFamily="34" charset="0"/>
                <a:cs typeface="Calibri" panose="020F0502020204030204" pitchFamily="34" charset="0"/>
              </a:rPr>
              <a:t>Voorbereiding volgende fase</a:t>
            </a:r>
          </a:p>
        </p:txBody>
      </p:sp>
      <p:grpSp>
        <p:nvGrpSpPr>
          <p:cNvPr id="1050" name="Group 1049">
            <a:extLst>
              <a:ext uri="{FF2B5EF4-FFF2-40B4-BE49-F238E27FC236}">
                <a16:creationId xmlns:a16="http://schemas.microsoft.com/office/drawing/2014/main" id="{7A0BAB20-8599-7CB0-E971-2B9A4A6FBF4D}"/>
              </a:ext>
            </a:extLst>
          </p:cNvPr>
          <p:cNvGrpSpPr/>
          <p:nvPr/>
        </p:nvGrpSpPr>
        <p:grpSpPr>
          <a:xfrm rot="5129753" flipH="1">
            <a:off x="-992306" y="-656641"/>
            <a:ext cx="1681333" cy="1583319"/>
            <a:chOff x="8275101" y="4292024"/>
            <a:chExt cx="1681333" cy="1583319"/>
          </a:xfrm>
        </p:grpSpPr>
        <p:sp>
          <p:nvSpPr>
            <p:cNvPr id="1051" name="Rectangle 1050">
              <a:extLst>
                <a:ext uri="{FF2B5EF4-FFF2-40B4-BE49-F238E27FC236}">
                  <a16:creationId xmlns:a16="http://schemas.microsoft.com/office/drawing/2014/main" id="{60E2FA1B-1BB7-5906-DF16-9D99D8F11047}"/>
                </a:ext>
              </a:extLst>
            </p:cNvPr>
            <p:cNvSpPr/>
            <p:nvPr/>
          </p:nvSpPr>
          <p:spPr>
            <a:xfrm rot="18104199">
              <a:off x="8284674" y="4833234"/>
              <a:ext cx="1032536" cy="1051681"/>
            </a:xfrm>
            <a:prstGeom prst="rect">
              <a:avLst/>
            </a:prstGeom>
            <a:solidFill>
              <a:srgbClr val="D26E2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52" name="Rectangle 1051">
              <a:extLst>
                <a:ext uri="{FF2B5EF4-FFF2-40B4-BE49-F238E27FC236}">
                  <a16:creationId xmlns:a16="http://schemas.microsoft.com/office/drawing/2014/main" id="{C1A14FA4-76BF-B2E8-3D2A-C5B001CE90FE}"/>
                </a:ext>
              </a:extLst>
            </p:cNvPr>
            <p:cNvSpPr/>
            <p:nvPr/>
          </p:nvSpPr>
          <p:spPr>
            <a:xfrm rot="20606124">
              <a:off x="8730086" y="4292024"/>
              <a:ext cx="1226348" cy="1242590"/>
            </a:xfrm>
            <a:prstGeom prst="rect">
              <a:avLst/>
            </a:prstGeom>
            <a:solidFill>
              <a:srgbClr val="22212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CAD8FC9-3629-804C-688E-6B3B35A8080A}"/>
              </a:ext>
            </a:extLst>
          </p:cNvPr>
          <p:cNvGrpSpPr/>
          <p:nvPr/>
        </p:nvGrpSpPr>
        <p:grpSpPr>
          <a:xfrm>
            <a:off x="5477415" y="4096748"/>
            <a:ext cx="918033" cy="877365"/>
            <a:chOff x="5477415" y="4096748"/>
            <a:chExt cx="918033" cy="877365"/>
          </a:xfrm>
        </p:grpSpPr>
        <p:pic>
          <p:nvPicPr>
            <p:cNvPr id="1062" name="Graphic 1061" descr="Fireworks outline">
              <a:extLst>
                <a:ext uri="{FF2B5EF4-FFF2-40B4-BE49-F238E27FC236}">
                  <a16:creationId xmlns:a16="http://schemas.microsoft.com/office/drawing/2014/main" id="{72C6C465-EBB9-735E-A1E1-D7B286EF6A1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77415" y="4096748"/>
              <a:ext cx="487694" cy="487694"/>
            </a:xfrm>
            <a:prstGeom prst="rect">
              <a:avLst/>
            </a:prstGeom>
          </p:spPr>
        </p:pic>
        <p:pic>
          <p:nvPicPr>
            <p:cNvPr id="1055" name="Graphic 1054" descr="Cake outline">
              <a:extLst>
                <a:ext uri="{FF2B5EF4-FFF2-40B4-BE49-F238E27FC236}">
                  <a16:creationId xmlns:a16="http://schemas.microsoft.com/office/drawing/2014/main" id="{A5065CAF-04F5-DAFE-8400-989BADA63F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599937" y="4434113"/>
              <a:ext cx="540000" cy="540000"/>
            </a:xfrm>
            <a:prstGeom prst="rect">
              <a:avLst/>
            </a:prstGeom>
          </p:spPr>
        </p:pic>
        <p:pic>
          <p:nvPicPr>
            <p:cNvPr id="1063" name="Graphic 1062" descr="Fireworks outline">
              <a:extLst>
                <a:ext uri="{FF2B5EF4-FFF2-40B4-BE49-F238E27FC236}">
                  <a16:creationId xmlns:a16="http://schemas.microsoft.com/office/drawing/2014/main" id="{93525FDF-A72D-E957-0A2B-F21AE099920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907754" y="4216419"/>
              <a:ext cx="487694" cy="487694"/>
            </a:xfrm>
            <a:prstGeom prst="rect">
              <a:avLst/>
            </a:prstGeom>
          </p:spPr>
        </p:pic>
      </p:grpSp>
      <p:sp>
        <p:nvSpPr>
          <p:cNvPr id="1074" name="Rectangle: Rounded Corners 21">
            <a:extLst>
              <a:ext uri="{FF2B5EF4-FFF2-40B4-BE49-F238E27FC236}">
                <a16:creationId xmlns:a16="http://schemas.microsoft.com/office/drawing/2014/main" id="{BFE16752-5EA8-BB51-55F6-8682C44D5154}"/>
              </a:ext>
            </a:extLst>
          </p:cNvPr>
          <p:cNvSpPr/>
          <p:nvPr/>
        </p:nvSpPr>
        <p:spPr>
          <a:xfrm>
            <a:off x="8069146" y="1599828"/>
            <a:ext cx="814578" cy="359840"/>
          </a:xfrm>
          <a:prstGeom prst="roundRect">
            <a:avLst/>
          </a:prstGeom>
          <a:solidFill>
            <a:srgbClr val="D26E25"/>
          </a:solidFill>
          <a:ln>
            <a:solidFill>
              <a:srgbClr val="D26E2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i="1" err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teratieve</a:t>
            </a:r>
            <a:r>
              <a:rPr lang="en-US" sz="900" i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eleases</a:t>
            </a:r>
          </a:p>
        </p:txBody>
      </p:sp>
    </p:spTree>
    <p:extLst>
      <p:ext uri="{BB962C8B-B14F-4D97-AF65-F5344CB8AC3E}">
        <p14:creationId xmlns:p14="http://schemas.microsoft.com/office/powerpoint/2010/main" val="30634810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811E99-F9F0-4692-BCDE-C6E08B217F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441" y="194155"/>
            <a:ext cx="7886700" cy="994172"/>
          </a:xfrm>
        </p:spPr>
        <p:txBody>
          <a:bodyPr/>
          <a:lstStyle/>
          <a:p>
            <a:r>
              <a:rPr lang="nl-BE" sz="2750" b="1">
                <a:latin typeface="Calibri"/>
                <a:ea typeface="Calibri"/>
                <a:cs typeface="Quire Sans"/>
              </a:rPr>
              <a:t>CIJFERS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45648AA-6103-F281-FE5E-79F5EA9CF238}"/>
              </a:ext>
            </a:extLst>
          </p:cNvPr>
          <p:cNvGrpSpPr/>
          <p:nvPr/>
        </p:nvGrpSpPr>
        <p:grpSpPr>
          <a:xfrm flipH="1">
            <a:off x="-775634" y="4175456"/>
            <a:ext cx="1681333" cy="1583319"/>
            <a:chOff x="8275101" y="4292024"/>
            <a:chExt cx="1681333" cy="1583319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421B53B-3B69-849C-27F0-9BEA2CD21CE8}"/>
                </a:ext>
              </a:extLst>
            </p:cNvPr>
            <p:cNvSpPr/>
            <p:nvPr/>
          </p:nvSpPr>
          <p:spPr>
            <a:xfrm rot="18104199">
              <a:off x="8284674" y="4833234"/>
              <a:ext cx="1032536" cy="1051681"/>
            </a:xfrm>
            <a:prstGeom prst="rect">
              <a:avLst/>
            </a:prstGeom>
            <a:solidFill>
              <a:srgbClr val="D26E2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ACB684-E5E3-3B10-80B0-1C332843597A}"/>
                </a:ext>
              </a:extLst>
            </p:cNvPr>
            <p:cNvSpPr/>
            <p:nvPr/>
          </p:nvSpPr>
          <p:spPr>
            <a:xfrm rot="20606124">
              <a:off x="8730086" y="4292024"/>
              <a:ext cx="1226348" cy="1242590"/>
            </a:xfrm>
            <a:prstGeom prst="rect">
              <a:avLst/>
            </a:prstGeom>
            <a:solidFill>
              <a:srgbClr val="22212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/>
                <a:ea typeface="Calibri"/>
                <a:cs typeface="Calibri"/>
              </a:endParaRPr>
            </a:p>
          </p:txBody>
        </p:sp>
        <p:pic>
          <p:nvPicPr>
            <p:cNvPr id="30" name="Picture 2" descr="Evaluaties &amp; enquêtes">
              <a:extLst>
                <a:ext uri="{FF2B5EF4-FFF2-40B4-BE49-F238E27FC236}">
                  <a16:creationId xmlns:a16="http://schemas.microsoft.com/office/drawing/2014/main" id="{D179D474-6181-3A32-E70E-72698367D1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54" r="81029"/>
            <a:stretch/>
          </p:blipFill>
          <p:spPr bwMode="auto">
            <a:xfrm>
              <a:off x="8730143" y="4514757"/>
              <a:ext cx="369388" cy="7572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53" name="Rectangle 1052">
            <a:extLst>
              <a:ext uri="{FF2B5EF4-FFF2-40B4-BE49-F238E27FC236}">
                <a16:creationId xmlns:a16="http://schemas.microsoft.com/office/drawing/2014/main" id="{0749ECB1-F585-1D78-5241-2F185C5BD66F}"/>
              </a:ext>
            </a:extLst>
          </p:cNvPr>
          <p:cNvSpPr/>
          <p:nvPr/>
        </p:nvSpPr>
        <p:spPr>
          <a:xfrm>
            <a:off x="9151423" y="-9995"/>
            <a:ext cx="3104292" cy="5163469"/>
          </a:xfrm>
          <a:prstGeom prst="rect">
            <a:avLst/>
          </a:prstGeom>
          <a:solidFill>
            <a:srgbClr val="22212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/>
              <a:ea typeface="Calibri"/>
              <a:cs typeface="Calibri"/>
            </a:endParaRPr>
          </a:p>
        </p:txBody>
      </p:sp>
      <p:cxnSp>
        <p:nvCxnSpPr>
          <p:cNvPr id="1135" name="Straight Arrow Connector 1134">
            <a:extLst>
              <a:ext uri="{FF2B5EF4-FFF2-40B4-BE49-F238E27FC236}">
                <a16:creationId xmlns:a16="http://schemas.microsoft.com/office/drawing/2014/main" id="{30E72FFA-C30A-5546-F718-C4725820688D}"/>
              </a:ext>
            </a:extLst>
          </p:cNvPr>
          <p:cNvCxnSpPr>
            <a:cxnSpLocks/>
          </p:cNvCxnSpPr>
          <p:nvPr/>
        </p:nvCxnSpPr>
        <p:spPr>
          <a:xfrm flipV="1">
            <a:off x="9175952" y="4056912"/>
            <a:ext cx="1212745" cy="1076864"/>
          </a:xfrm>
          <a:prstGeom prst="straightConnector1">
            <a:avLst/>
          </a:prstGeom>
          <a:ln w="57150">
            <a:solidFill>
              <a:srgbClr val="FED650">
                <a:alpha val="16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7" name="Straight Arrow Connector 1136">
            <a:extLst>
              <a:ext uri="{FF2B5EF4-FFF2-40B4-BE49-F238E27FC236}">
                <a16:creationId xmlns:a16="http://schemas.microsoft.com/office/drawing/2014/main" id="{774E574A-9395-CECD-2AAE-F59BD62297E8}"/>
              </a:ext>
            </a:extLst>
          </p:cNvPr>
          <p:cNvCxnSpPr>
            <a:cxnSpLocks/>
          </p:cNvCxnSpPr>
          <p:nvPr/>
        </p:nvCxnSpPr>
        <p:spPr>
          <a:xfrm flipV="1">
            <a:off x="10133589" y="3643380"/>
            <a:ext cx="1657291" cy="1533686"/>
          </a:xfrm>
          <a:prstGeom prst="straightConnector1">
            <a:avLst/>
          </a:prstGeom>
          <a:ln w="57150">
            <a:solidFill>
              <a:srgbClr val="FED650">
                <a:alpha val="16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8" name="Straight Arrow Connector 1137">
            <a:extLst>
              <a:ext uri="{FF2B5EF4-FFF2-40B4-BE49-F238E27FC236}">
                <a16:creationId xmlns:a16="http://schemas.microsoft.com/office/drawing/2014/main" id="{4471519A-9E49-4C6C-7E5F-75C021C22F7B}"/>
              </a:ext>
            </a:extLst>
          </p:cNvPr>
          <p:cNvCxnSpPr>
            <a:cxnSpLocks/>
          </p:cNvCxnSpPr>
          <p:nvPr/>
        </p:nvCxnSpPr>
        <p:spPr>
          <a:xfrm flipV="1">
            <a:off x="9113240" y="2596368"/>
            <a:ext cx="1212745" cy="1076864"/>
          </a:xfrm>
          <a:prstGeom prst="straightConnector1">
            <a:avLst/>
          </a:prstGeom>
          <a:ln w="57150">
            <a:solidFill>
              <a:srgbClr val="FED650">
                <a:alpha val="16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9" name="Straight Arrow Connector 1138">
            <a:extLst>
              <a:ext uri="{FF2B5EF4-FFF2-40B4-BE49-F238E27FC236}">
                <a16:creationId xmlns:a16="http://schemas.microsoft.com/office/drawing/2014/main" id="{7F712E78-3914-B762-E443-19EF9B536232}"/>
              </a:ext>
            </a:extLst>
          </p:cNvPr>
          <p:cNvCxnSpPr>
            <a:cxnSpLocks/>
          </p:cNvCxnSpPr>
          <p:nvPr/>
        </p:nvCxnSpPr>
        <p:spPr>
          <a:xfrm flipV="1">
            <a:off x="9165489" y="1264042"/>
            <a:ext cx="1212745" cy="1076864"/>
          </a:xfrm>
          <a:prstGeom prst="straightConnector1">
            <a:avLst/>
          </a:prstGeom>
          <a:ln w="57150">
            <a:solidFill>
              <a:srgbClr val="FED650">
                <a:alpha val="16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0" name="Straight Arrow Connector 1139">
            <a:extLst>
              <a:ext uri="{FF2B5EF4-FFF2-40B4-BE49-F238E27FC236}">
                <a16:creationId xmlns:a16="http://schemas.microsoft.com/office/drawing/2014/main" id="{CD9D08C5-1F1D-3CBB-059F-F24823B46D62}"/>
              </a:ext>
            </a:extLst>
          </p:cNvPr>
          <p:cNvCxnSpPr>
            <a:cxnSpLocks/>
          </p:cNvCxnSpPr>
          <p:nvPr/>
        </p:nvCxnSpPr>
        <p:spPr>
          <a:xfrm flipV="1">
            <a:off x="9134928" y="734900"/>
            <a:ext cx="2662859" cy="2258043"/>
          </a:xfrm>
          <a:prstGeom prst="straightConnector1">
            <a:avLst/>
          </a:prstGeom>
          <a:ln w="57150">
            <a:solidFill>
              <a:srgbClr val="FED650">
                <a:alpha val="16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2" name="Straight Arrow Connector 1141">
            <a:extLst>
              <a:ext uri="{FF2B5EF4-FFF2-40B4-BE49-F238E27FC236}">
                <a16:creationId xmlns:a16="http://schemas.microsoft.com/office/drawing/2014/main" id="{E742E396-E4B5-3CD1-9606-86733254963E}"/>
              </a:ext>
            </a:extLst>
          </p:cNvPr>
          <p:cNvCxnSpPr>
            <a:cxnSpLocks/>
          </p:cNvCxnSpPr>
          <p:nvPr/>
        </p:nvCxnSpPr>
        <p:spPr>
          <a:xfrm flipV="1">
            <a:off x="9165489" y="1891909"/>
            <a:ext cx="2818392" cy="2476577"/>
          </a:xfrm>
          <a:prstGeom prst="straightConnector1">
            <a:avLst/>
          </a:prstGeom>
          <a:ln w="57150">
            <a:solidFill>
              <a:srgbClr val="FED650">
                <a:alpha val="16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7" name="Graphic 1046" descr="Close with solid fill">
            <a:extLst>
              <a:ext uri="{FF2B5EF4-FFF2-40B4-BE49-F238E27FC236}">
                <a16:creationId xmlns:a16="http://schemas.microsoft.com/office/drawing/2014/main" id="{CAE184FD-0770-7B99-9434-692B33D213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79583" y="2049465"/>
            <a:ext cx="900000" cy="900000"/>
          </a:xfrm>
          <a:prstGeom prst="rect">
            <a:avLst/>
          </a:prstGeom>
        </p:spPr>
      </p:pic>
      <p:pic>
        <p:nvPicPr>
          <p:cNvPr id="1051" name="Graphic 1050" descr="Close with solid fill">
            <a:extLst>
              <a:ext uri="{FF2B5EF4-FFF2-40B4-BE49-F238E27FC236}">
                <a16:creationId xmlns:a16="http://schemas.microsoft.com/office/drawing/2014/main" id="{66775BC5-10E2-E0F8-B0FB-96E2DF54242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657478" y="2882509"/>
            <a:ext cx="720000" cy="720000"/>
          </a:xfrm>
          <a:prstGeom prst="rect">
            <a:avLst/>
          </a:prstGeom>
        </p:spPr>
      </p:pic>
      <p:pic>
        <p:nvPicPr>
          <p:cNvPr id="1052" name="Graphic 1051" descr="Close with solid fill">
            <a:extLst>
              <a:ext uri="{FF2B5EF4-FFF2-40B4-BE49-F238E27FC236}">
                <a16:creationId xmlns:a16="http://schemas.microsoft.com/office/drawing/2014/main" id="{AAF726A9-D2EA-FE84-EE98-3FE4AE0574D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47478" y="3680384"/>
            <a:ext cx="540000" cy="540000"/>
          </a:xfrm>
          <a:prstGeom prst="rect">
            <a:avLst/>
          </a:prstGeom>
        </p:spPr>
      </p:pic>
      <p:sp>
        <p:nvSpPr>
          <p:cNvPr id="1073" name="Content Placeholder 2">
            <a:extLst>
              <a:ext uri="{FF2B5EF4-FFF2-40B4-BE49-F238E27FC236}">
                <a16:creationId xmlns:a16="http://schemas.microsoft.com/office/drawing/2014/main" id="{B6D3CA99-231D-F0EC-5EA9-874F8310A8B8}"/>
              </a:ext>
            </a:extLst>
          </p:cNvPr>
          <p:cNvSpPr txBox="1">
            <a:spLocks/>
          </p:cNvSpPr>
          <p:nvPr/>
        </p:nvSpPr>
        <p:spPr>
          <a:xfrm>
            <a:off x="9690582" y="827452"/>
            <a:ext cx="2025974" cy="802486"/>
          </a:xfrm>
          <a:prstGeom prst="rect">
            <a:avLst/>
          </a:prstGeom>
        </p:spPr>
        <p:txBody>
          <a:bodyPr vert="horz" lIns="0" tIns="0" rIns="0" bIns="45720" rtlCol="0" anchor="ctr">
            <a:normAutofit fontScale="40000" lnSpcReduction="20000"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2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3000" b="1" i="1">
                <a:solidFill>
                  <a:schemeClr val="bg1"/>
                </a:solidFill>
                <a:latin typeface="Calibri"/>
                <a:ea typeface="Calibri"/>
              </a:rPr>
              <a:t>185  Foutieve zendingen</a:t>
            </a:r>
          </a:p>
          <a:p>
            <a:pPr marL="0" indent="0" algn="ctr">
              <a:buFontTx/>
              <a:buNone/>
            </a:pPr>
            <a:r>
              <a:rPr lang="nl-NL" sz="7400" b="1">
                <a:solidFill>
                  <a:schemeClr val="bg1"/>
                </a:solidFill>
                <a:latin typeface="Calibri"/>
                <a:ea typeface="Calibri"/>
              </a:rPr>
              <a:t>1,3%</a:t>
            </a:r>
          </a:p>
        </p:txBody>
      </p:sp>
      <p:sp>
        <p:nvSpPr>
          <p:cNvPr id="1084" name="Content Placeholder 2">
            <a:extLst>
              <a:ext uri="{FF2B5EF4-FFF2-40B4-BE49-F238E27FC236}">
                <a16:creationId xmlns:a16="http://schemas.microsoft.com/office/drawing/2014/main" id="{096CB886-AED3-3C68-CC42-93AD37C9C21F}"/>
              </a:ext>
            </a:extLst>
          </p:cNvPr>
          <p:cNvSpPr txBox="1">
            <a:spLocks/>
          </p:cNvSpPr>
          <p:nvPr/>
        </p:nvSpPr>
        <p:spPr>
          <a:xfrm>
            <a:off x="10424537" y="2139055"/>
            <a:ext cx="1366343" cy="611067"/>
          </a:xfrm>
          <a:prstGeom prst="rect">
            <a:avLst/>
          </a:prstGeom>
        </p:spPr>
        <p:txBody>
          <a:bodyPr vert="horz" lIns="0" tIns="0" rIns="0" bIns="45720" rtlCol="0" anchor="ctr">
            <a:normAutofit fontScale="92500"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2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3200" b="1" i="1">
                <a:solidFill>
                  <a:schemeClr val="accent4">
                    <a:lumMod val="60000"/>
                    <a:lumOff val="40000"/>
                  </a:schemeClr>
                </a:solidFill>
                <a:latin typeface="Calibri"/>
                <a:ea typeface="Calibri"/>
              </a:rPr>
              <a:t>M-Kaart</a:t>
            </a:r>
            <a:endParaRPr lang="nl-NL" sz="7400" b="1">
              <a:solidFill>
                <a:schemeClr val="accent4">
                  <a:lumMod val="60000"/>
                  <a:lumOff val="40000"/>
                </a:schemeClr>
              </a:solidFill>
              <a:latin typeface="Calibri"/>
              <a:ea typeface="Calibri"/>
            </a:endParaRPr>
          </a:p>
        </p:txBody>
      </p:sp>
      <p:sp>
        <p:nvSpPr>
          <p:cNvPr id="1087" name="Content Placeholder 2">
            <a:extLst>
              <a:ext uri="{FF2B5EF4-FFF2-40B4-BE49-F238E27FC236}">
                <a16:creationId xmlns:a16="http://schemas.microsoft.com/office/drawing/2014/main" id="{44464D86-28E2-C6D2-6CDD-F628CA174CD8}"/>
              </a:ext>
            </a:extLst>
          </p:cNvPr>
          <p:cNvSpPr txBox="1">
            <a:spLocks/>
          </p:cNvSpPr>
          <p:nvPr/>
        </p:nvSpPr>
        <p:spPr>
          <a:xfrm>
            <a:off x="10382168" y="2935025"/>
            <a:ext cx="1366343" cy="611067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2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1600" b="1" err="1">
                <a:solidFill>
                  <a:schemeClr val="accent4">
                    <a:lumMod val="40000"/>
                    <a:lumOff val="60000"/>
                  </a:schemeClr>
                </a:solidFill>
                <a:latin typeface="Calibri"/>
                <a:ea typeface="Calibri"/>
              </a:rPr>
              <a:t>Immatriculatie</a:t>
            </a:r>
            <a:endParaRPr lang="nl-NL" sz="1600" b="1">
              <a:solidFill>
                <a:schemeClr val="accent4">
                  <a:lumMod val="40000"/>
                  <a:lumOff val="60000"/>
                </a:schemeClr>
              </a:solidFill>
              <a:latin typeface="Calibri"/>
              <a:ea typeface="Calibri"/>
            </a:endParaRPr>
          </a:p>
        </p:txBody>
      </p:sp>
      <p:sp>
        <p:nvSpPr>
          <p:cNvPr id="1090" name="Content Placeholder 2">
            <a:extLst>
              <a:ext uri="{FF2B5EF4-FFF2-40B4-BE49-F238E27FC236}">
                <a16:creationId xmlns:a16="http://schemas.microsoft.com/office/drawing/2014/main" id="{92DA5A74-E7CD-B72F-A344-01E81F9389B7}"/>
              </a:ext>
            </a:extLst>
          </p:cNvPr>
          <p:cNvSpPr txBox="1">
            <a:spLocks/>
          </p:cNvSpPr>
          <p:nvPr/>
        </p:nvSpPr>
        <p:spPr>
          <a:xfrm>
            <a:off x="10277052" y="3646276"/>
            <a:ext cx="1366343" cy="611067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2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1200" b="1">
                <a:solidFill>
                  <a:schemeClr val="accent4">
                    <a:lumMod val="20000"/>
                    <a:lumOff val="80000"/>
                  </a:schemeClr>
                </a:solidFill>
                <a:latin typeface="Calibri"/>
                <a:ea typeface="Calibri"/>
              </a:rPr>
              <a:t>Fiscale toestand</a:t>
            </a:r>
          </a:p>
        </p:txBody>
      </p:sp>
      <p:grpSp>
        <p:nvGrpSpPr>
          <p:cNvPr id="1125" name="Group 1124">
            <a:extLst>
              <a:ext uri="{FF2B5EF4-FFF2-40B4-BE49-F238E27FC236}">
                <a16:creationId xmlns:a16="http://schemas.microsoft.com/office/drawing/2014/main" id="{33C99C5A-4B0F-6D39-BF8A-DF13D53E7F91}"/>
              </a:ext>
            </a:extLst>
          </p:cNvPr>
          <p:cNvGrpSpPr/>
          <p:nvPr/>
        </p:nvGrpSpPr>
        <p:grpSpPr>
          <a:xfrm rot="16993171">
            <a:off x="8980796" y="925401"/>
            <a:ext cx="1156473" cy="735491"/>
            <a:chOff x="6060815" y="731820"/>
            <a:chExt cx="811289" cy="664429"/>
          </a:xfrm>
        </p:grpSpPr>
        <p:cxnSp>
          <p:nvCxnSpPr>
            <p:cNvPr id="1123" name="Straight Arrow Connector 1122">
              <a:extLst>
                <a:ext uri="{FF2B5EF4-FFF2-40B4-BE49-F238E27FC236}">
                  <a16:creationId xmlns:a16="http://schemas.microsoft.com/office/drawing/2014/main" id="{E953B522-0E59-44C2-7815-86AC14973C5C}"/>
                </a:ext>
              </a:extLst>
            </p:cNvPr>
            <p:cNvCxnSpPr>
              <a:cxnSpLocks/>
              <a:stCxn id="1161" idx="1"/>
            </p:cNvCxnSpPr>
            <p:nvPr/>
          </p:nvCxnSpPr>
          <p:spPr>
            <a:xfrm rot="4606829" flipH="1" flipV="1">
              <a:off x="6524444" y="927528"/>
              <a:ext cx="365533" cy="329786"/>
            </a:xfrm>
            <a:prstGeom prst="straightConnector1">
              <a:avLst/>
            </a:prstGeom>
            <a:ln w="57150">
              <a:solidFill>
                <a:srgbClr val="FFFF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4" name="Straight Arrow Connector 1123">
              <a:extLst>
                <a:ext uri="{FF2B5EF4-FFF2-40B4-BE49-F238E27FC236}">
                  <a16:creationId xmlns:a16="http://schemas.microsoft.com/office/drawing/2014/main" id="{0F679CE1-A197-F234-ABA4-1EBAEDEAE457}"/>
                </a:ext>
              </a:extLst>
            </p:cNvPr>
            <p:cNvCxnSpPr>
              <a:cxnSpLocks/>
              <a:endCxn id="1161" idx="1"/>
            </p:cNvCxnSpPr>
            <p:nvPr/>
          </p:nvCxnSpPr>
          <p:spPr>
            <a:xfrm rot="4606829" flipV="1">
              <a:off x="5961352" y="831283"/>
              <a:ext cx="664429" cy="465504"/>
            </a:xfrm>
            <a:prstGeom prst="straightConnector1">
              <a:avLst/>
            </a:prstGeom>
            <a:ln w="57150">
              <a:solidFill>
                <a:srgbClr val="FFFFF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46" name="Straight Arrow Connector 1145">
            <a:extLst>
              <a:ext uri="{FF2B5EF4-FFF2-40B4-BE49-F238E27FC236}">
                <a16:creationId xmlns:a16="http://schemas.microsoft.com/office/drawing/2014/main" id="{7D874870-6B7A-8F41-0231-39ACA9D4EAEA}"/>
              </a:ext>
            </a:extLst>
          </p:cNvPr>
          <p:cNvCxnSpPr>
            <a:cxnSpLocks/>
          </p:cNvCxnSpPr>
          <p:nvPr/>
        </p:nvCxnSpPr>
        <p:spPr>
          <a:xfrm flipV="1">
            <a:off x="9157725" y="377319"/>
            <a:ext cx="1258941" cy="1118978"/>
          </a:xfrm>
          <a:prstGeom prst="straightConnector1">
            <a:avLst/>
          </a:prstGeom>
          <a:ln w="57150">
            <a:solidFill>
              <a:srgbClr val="FED650">
                <a:alpha val="16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54" name="Group 1153">
            <a:extLst>
              <a:ext uri="{FF2B5EF4-FFF2-40B4-BE49-F238E27FC236}">
                <a16:creationId xmlns:a16="http://schemas.microsoft.com/office/drawing/2014/main" id="{F08F6F77-2B9C-C648-55C5-95168BA2985A}"/>
              </a:ext>
            </a:extLst>
          </p:cNvPr>
          <p:cNvGrpSpPr/>
          <p:nvPr/>
        </p:nvGrpSpPr>
        <p:grpSpPr>
          <a:xfrm flipH="1">
            <a:off x="11509192" y="282689"/>
            <a:ext cx="939772" cy="1317138"/>
            <a:chOff x="6198094" y="426857"/>
            <a:chExt cx="659267" cy="1189876"/>
          </a:xfrm>
        </p:grpSpPr>
        <p:cxnSp>
          <p:nvCxnSpPr>
            <p:cNvPr id="1156" name="Straight Arrow Connector 1155">
              <a:extLst>
                <a:ext uri="{FF2B5EF4-FFF2-40B4-BE49-F238E27FC236}">
                  <a16:creationId xmlns:a16="http://schemas.microsoft.com/office/drawing/2014/main" id="{F11E1065-3EDB-6EDD-B5FE-646EF538E669}"/>
                </a:ext>
              </a:extLst>
            </p:cNvPr>
            <p:cNvCxnSpPr>
              <a:cxnSpLocks/>
              <a:stCxn id="1161" idx="3"/>
            </p:cNvCxnSpPr>
            <p:nvPr/>
          </p:nvCxnSpPr>
          <p:spPr>
            <a:xfrm flipH="1">
              <a:off x="6573507" y="1256704"/>
              <a:ext cx="283854" cy="360029"/>
            </a:xfrm>
            <a:prstGeom prst="straightConnector1">
              <a:avLst/>
            </a:prstGeom>
            <a:ln w="57150">
              <a:solidFill>
                <a:srgbClr val="FFFF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7" name="Straight Arrow Connector 1156">
              <a:extLst>
                <a:ext uri="{FF2B5EF4-FFF2-40B4-BE49-F238E27FC236}">
                  <a16:creationId xmlns:a16="http://schemas.microsoft.com/office/drawing/2014/main" id="{E7B7742B-6915-7DED-4E60-6BEA610AF848}"/>
                </a:ext>
              </a:extLst>
            </p:cNvPr>
            <p:cNvCxnSpPr>
              <a:cxnSpLocks/>
              <a:endCxn id="1161" idx="3"/>
            </p:cNvCxnSpPr>
            <p:nvPr/>
          </p:nvCxnSpPr>
          <p:spPr>
            <a:xfrm>
              <a:off x="6198094" y="426857"/>
              <a:ext cx="659263" cy="829846"/>
            </a:xfrm>
            <a:prstGeom prst="straightConnector1">
              <a:avLst/>
            </a:prstGeom>
            <a:ln w="57150">
              <a:solidFill>
                <a:srgbClr val="FFFFF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61" name="Rectangle: Rounded Corners 1160">
            <a:extLst>
              <a:ext uri="{FF2B5EF4-FFF2-40B4-BE49-F238E27FC236}">
                <a16:creationId xmlns:a16="http://schemas.microsoft.com/office/drawing/2014/main" id="{70102454-3512-E054-7A29-77DC67644845}"/>
              </a:ext>
            </a:extLst>
          </p:cNvPr>
          <p:cNvSpPr/>
          <p:nvPr/>
        </p:nvSpPr>
        <p:spPr>
          <a:xfrm>
            <a:off x="9870417" y="738223"/>
            <a:ext cx="1638779" cy="926136"/>
          </a:xfrm>
          <a:prstGeom prst="roundRect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/>
              <a:ea typeface="Calibri"/>
              <a:cs typeface="Calibri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E23CA9FC-CD3D-6FA5-AD0A-5538651CDE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42691039"/>
              </p:ext>
            </p:extLst>
          </p:nvPr>
        </p:nvGraphicFramePr>
        <p:xfrm>
          <a:off x="2955188" y="980440"/>
          <a:ext cx="3251965" cy="31095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98E25C0-B1F1-AF97-EE5B-543686AB4E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926410" y="2204170"/>
            <a:ext cx="1366343" cy="611067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nl-NL" sz="3200" b="1">
                <a:solidFill>
                  <a:srgbClr val="222124"/>
                </a:solidFill>
                <a:latin typeface="Calibri"/>
                <a:ea typeface="Calibri"/>
              </a:rPr>
              <a:t>14150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C48CD0D-22EF-941B-33FD-DB9E335CEDC4}"/>
              </a:ext>
            </a:extLst>
          </p:cNvPr>
          <p:cNvSpPr txBox="1">
            <a:spLocks/>
          </p:cNvSpPr>
          <p:nvPr/>
        </p:nvSpPr>
        <p:spPr>
          <a:xfrm>
            <a:off x="4586624" y="4124149"/>
            <a:ext cx="932150" cy="285212"/>
          </a:xfrm>
          <a:prstGeom prst="rect">
            <a:avLst/>
          </a:prstGeom>
        </p:spPr>
        <p:txBody>
          <a:bodyPr vert="horz" lIns="0" tIns="0" rIns="0" bIns="45720" rtlCol="0" anchor="ctr">
            <a:normAutofit fontScale="92500" lnSpcReduction="10000"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2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>
                <a:latin typeface="Calibri"/>
                <a:ea typeface="Calibri"/>
              </a:rPr>
              <a:t>3190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DF75443-501B-F577-8E7C-5F50F32645E9}"/>
              </a:ext>
            </a:extLst>
          </p:cNvPr>
          <p:cNvSpPr txBox="1">
            <a:spLocks/>
          </p:cNvSpPr>
          <p:nvPr/>
        </p:nvSpPr>
        <p:spPr>
          <a:xfrm>
            <a:off x="2414469" y="3282182"/>
            <a:ext cx="799095" cy="317715"/>
          </a:xfrm>
          <a:prstGeom prst="rect">
            <a:avLst/>
          </a:prstGeom>
        </p:spPr>
        <p:txBody>
          <a:bodyPr vert="horz" lIns="0" tIns="0" rIns="0" bIns="45720" rtlCol="0" anchor="ctr">
            <a:normAutofit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2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1500">
                <a:latin typeface="Calibri"/>
                <a:ea typeface="Calibri"/>
              </a:rPr>
              <a:t>2881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B03C922F-C7D5-7A78-4ACA-045EDF046937}"/>
              </a:ext>
            </a:extLst>
          </p:cNvPr>
          <p:cNvSpPr txBox="1">
            <a:spLocks/>
          </p:cNvSpPr>
          <p:nvPr/>
        </p:nvSpPr>
        <p:spPr>
          <a:xfrm>
            <a:off x="6184012" y="1907994"/>
            <a:ext cx="824103" cy="284846"/>
          </a:xfrm>
          <a:prstGeom prst="rect">
            <a:avLst/>
          </a:prstGeom>
        </p:spPr>
        <p:txBody>
          <a:bodyPr vert="horz" lIns="0" tIns="0" rIns="0" bIns="45720" rtlCol="0" anchor="ctr">
            <a:normAutofit lnSpcReduction="10000"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2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1500">
                <a:latin typeface="Calibri"/>
                <a:ea typeface="Calibri"/>
              </a:rPr>
              <a:t>5481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C2E3C99E-D0BF-F625-7D3D-BFB0EA96C48F}"/>
              </a:ext>
            </a:extLst>
          </p:cNvPr>
          <p:cNvSpPr txBox="1">
            <a:spLocks/>
          </p:cNvSpPr>
          <p:nvPr/>
        </p:nvSpPr>
        <p:spPr>
          <a:xfrm>
            <a:off x="2580841" y="1167829"/>
            <a:ext cx="799095" cy="317715"/>
          </a:xfrm>
          <a:prstGeom prst="rect">
            <a:avLst/>
          </a:prstGeom>
        </p:spPr>
        <p:txBody>
          <a:bodyPr vert="horz" lIns="0" tIns="0" rIns="0" bIns="45720" rtlCol="0" anchor="ctr">
            <a:normAutofit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2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1500">
                <a:latin typeface="Calibri"/>
                <a:ea typeface="Calibri"/>
              </a:rPr>
              <a:t>1805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28F6577-9BDA-72C3-A400-9151A67B3F4D}"/>
              </a:ext>
            </a:extLst>
          </p:cNvPr>
          <p:cNvSpPr txBox="1">
            <a:spLocks/>
          </p:cNvSpPr>
          <p:nvPr/>
        </p:nvSpPr>
        <p:spPr>
          <a:xfrm>
            <a:off x="3721181" y="526904"/>
            <a:ext cx="799095" cy="317715"/>
          </a:xfrm>
          <a:prstGeom prst="rect">
            <a:avLst/>
          </a:prstGeom>
        </p:spPr>
        <p:txBody>
          <a:bodyPr vert="horz" lIns="0" tIns="0" rIns="0" bIns="45720" rtlCol="0" anchor="ctr">
            <a:normAutofit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2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1500">
                <a:latin typeface="Calibri"/>
                <a:ea typeface="Calibri"/>
              </a:rPr>
              <a:t>310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3AB115B4-FF3F-AC71-2990-9769F8526672}"/>
              </a:ext>
            </a:extLst>
          </p:cNvPr>
          <p:cNvSpPr txBox="1">
            <a:spLocks/>
          </p:cNvSpPr>
          <p:nvPr/>
        </p:nvSpPr>
        <p:spPr>
          <a:xfrm>
            <a:off x="3259027" y="714293"/>
            <a:ext cx="799095" cy="317715"/>
          </a:xfrm>
          <a:prstGeom prst="rect">
            <a:avLst/>
          </a:prstGeom>
        </p:spPr>
        <p:txBody>
          <a:bodyPr vert="horz" lIns="0" tIns="0" rIns="0" bIns="45720" rtlCol="0" anchor="ctr">
            <a:normAutofit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2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1500">
                <a:latin typeface="Calibri"/>
                <a:ea typeface="Calibri"/>
              </a:rPr>
              <a:t>465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DDC204AE-6D7E-7C7F-4BE8-66E566682403}"/>
              </a:ext>
            </a:extLst>
          </p:cNvPr>
          <p:cNvSpPr txBox="1">
            <a:spLocks/>
          </p:cNvSpPr>
          <p:nvPr/>
        </p:nvSpPr>
        <p:spPr>
          <a:xfrm>
            <a:off x="4419647" y="692185"/>
            <a:ext cx="799095" cy="317715"/>
          </a:xfrm>
          <a:prstGeom prst="rect">
            <a:avLst/>
          </a:prstGeom>
        </p:spPr>
        <p:txBody>
          <a:bodyPr vert="horz" lIns="0" tIns="0" rIns="0" bIns="45720" rtlCol="0" anchor="ctr">
            <a:normAutofit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2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1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1500">
                <a:latin typeface="Calibri"/>
                <a:ea typeface="Calibri"/>
              </a:rPr>
              <a:t>20</a:t>
            </a:r>
          </a:p>
        </p:txBody>
      </p:sp>
      <p:pic>
        <p:nvPicPr>
          <p:cNvPr id="1136" name="Graphic 1135" descr="Family with boy outline">
            <a:extLst>
              <a:ext uri="{FF2B5EF4-FFF2-40B4-BE49-F238E27FC236}">
                <a16:creationId xmlns:a16="http://schemas.microsoft.com/office/drawing/2014/main" id="{B6D654DB-51B5-34DF-F224-FEE5AC5896D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350428" y="1996789"/>
            <a:ext cx="533540" cy="533540"/>
          </a:xfrm>
          <a:prstGeom prst="rect">
            <a:avLst/>
          </a:prstGeom>
        </p:spPr>
      </p:pic>
      <p:pic>
        <p:nvPicPr>
          <p:cNvPr id="1141" name="Graphic 1140" descr="Follow outline">
            <a:extLst>
              <a:ext uri="{FF2B5EF4-FFF2-40B4-BE49-F238E27FC236}">
                <a16:creationId xmlns:a16="http://schemas.microsoft.com/office/drawing/2014/main" id="{4B52D127-3D70-71A7-07C0-C64F4E1852C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315492" y="3339094"/>
            <a:ext cx="562406" cy="562406"/>
          </a:xfrm>
          <a:prstGeom prst="rect">
            <a:avLst/>
          </a:prstGeom>
        </p:spPr>
      </p:pic>
      <p:pic>
        <p:nvPicPr>
          <p:cNvPr id="1143" name="Graphic 1142" descr="Euro with solid fill">
            <a:extLst>
              <a:ext uri="{FF2B5EF4-FFF2-40B4-BE49-F238E27FC236}">
                <a16:creationId xmlns:a16="http://schemas.microsoft.com/office/drawing/2014/main" id="{C456C0C6-38BA-CFAB-059B-27911FF1983A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323797" y="2602886"/>
            <a:ext cx="434215" cy="434215"/>
          </a:xfrm>
          <a:prstGeom prst="rect">
            <a:avLst/>
          </a:prstGeom>
        </p:spPr>
      </p:pic>
      <p:pic>
        <p:nvPicPr>
          <p:cNvPr id="1144" name="Graphic 1143" descr="Employee badge outline">
            <a:extLst>
              <a:ext uri="{FF2B5EF4-FFF2-40B4-BE49-F238E27FC236}">
                <a16:creationId xmlns:a16="http://schemas.microsoft.com/office/drawing/2014/main" id="{D0A34DFA-00DA-7D9E-6753-828B404D344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606627" y="1502664"/>
            <a:ext cx="481624" cy="481624"/>
          </a:xfrm>
          <a:prstGeom prst="rect">
            <a:avLst/>
          </a:prstGeom>
        </p:spPr>
      </p:pic>
      <p:cxnSp>
        <p:nvCxnSpPr>
          <p:cNvPr id="1145" name="Straight Connector 1144">
            <a:extLst>
              <a:ext uri="{FF2B5EF4-FFF2-40B4-BE49-F238E27FC236}">
                <a16:creationId xmlns:a16="http://schemas.microsoft.com/office/drawing/2014/main" id="{70B1387F-E041-4F21-E224-7EBCE0553081}"/>
              </a:ext>
            </a:extLst>
          </p:cNvPr>
          <p:cNvCxnSpPr>
            <a:cxnSpLocks/>
          </p:cNvCxnSpPr>
          <p:nvPr/>
        </p:nvCxnSpPr>
        <p:spPr>
          <a:xfrm flipV="1">
            <a:off x="5966647" y="2126221"/>
            <a:ext cx="386164" cy="181676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7" name="Straight Connector 1146">
            <a:extLst>
              <a:ext uri="{FF2B5EF4-FFF2-40B4-BE49-F238E27FC236}">
                <a16:creationId xmlns:a16="http://schemas.microsoft.com/office/drawing/2014/main" id="{2F6C3D9A-FAAF-AD72-1B31-DAF955D3BAA8}"/>
              </a:ext>
            </a:extLst>
          </p:cNvPr>
          <p:cNvCxnSpPr>
            <a:cxnSpLocks/>
          </p:cNvCxnSpPr>
          <p:nvPr/>
        </p:nvCxnSpPr>
        <p:spPr>
          <a:xfrm>
            <a:off x="6352811" y="2126221"/>
            <a:ext cx="469106" cy="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8" name="Straight Connector 1147">
            <a:extLst>
              <a:ext uri="{FF2B5EF4-FFF2-40B4-BE49-F238E27FC236}">
                <a16:creationId xmlns:a16="http://schemas.microsoft.com/office/drawing/2014/main" id="{EA048104-358C-B30B-EC15-023F2E79F8A6}"/>
              </a:ext>
            </a:extLst>
          </p:cNvPr>
          <p:cNvCxnSpPr>
            <a:cxnSpLocks/>
          </p:cNvCxnSpPr>
          <p:nvPr/>
        </p:nvCxnSpPr>
        <p:spPr>
          <a:xfrm>
            <a:off x="4638942" y="3959245"/>
            <a:ext cx="161822" cy="37678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9" name="Straight Connector 1148">
            <a:extLst>
              <a:ext uri="{FF2B5EF4-FFF2-40B4-BE49-F238E27FC236}">
                <a16:creationId xmlns:a16="http://schemas.microsoft.com/office/drawing/2014/main" id="{CAA1AA9D-2427-E9D4-6BEF-ECBB9E4C90F9}"/>
              </a:ext>
            </a:extLst>
          </p:cNvPr>
          <p:cNvCxnSpPr>
            <a:cxnSpLocks/>
          </p:cNvCxnSpPr>
          <p:nvPr/>
        </p:nvCxnSpPr>
        <p:spPr>
          <a:xfrm>
            <a:off x="4800764" y="4336025"/>
            <a:ext cx="469106" cy="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0" name="Straight Connector 1149">
            <a:extLst>
              <a:ext uri="{FF2B5EF4-FFF2-40B4-BE49-F238E27FC236}">
                <a16:creationId xmlns:a16="http://schemas.microsoft.com/office/drawing/2014/main" id="{38F96D70-9A89-7FE5-65B1-B0A63A733478}"/>
              </a:ext>
            </a:extLst>
          </p:cNvPr>
          <p:cNvCxnSpPr>
            <a:cxnSpLocks/>
          </p:cNvCxnSpPr>
          <p:nvPr/>
        </p:nvCxnSpPr>
        <p:spPr>
          <a:xfrm flipH="1">
            <a:off x="3048570" y="3201066"/>
            <a:ext cx="282854" cy="302219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1" name="Straight Connector 1150">
            <a:extLst>
              <a:ext uri="{FF2B5EF4-FFF2-40B4-BE49-F238E27FC236}">
                <a16:creationId xmlns:a16="http://schemas.microsoft.com/office/drawing/2014/main" id="{D550BD2D-1E04-127E-717D-E8C64C9B57E8}"/>
              </a:ext>
            </a:extLst>
          </p:cNvPr>
          <p:cNvCxnSpPr>
            <a:cxnSpLocks/>
          </p:cNvCxnSpPr>
          <p:nvPr/>
        </p:nvCxnSpPr>
        <p:spPr>
          <a:xfrm>
            <a:off x="2579464" y="3503285"/>
            <a:ext cx="469106" cy="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2" name="Straight Connector 1151">
            <a:extLst>
              <a:ext uri="{FF2B5EF4-FFF2-40B4-BE49-F238E27FC236}">
                <a16:creationId xmlns:a16="http://schemas.microsoft.com/office/drawing/2014/main" id="{C26099CB-A445-33A0-3F0B-E34D525C52FB}"/>
              </a:ext>
            </a:extLst>
          </p:cNvPr>
          <p:cNvCxnSpPr>
            <a:cxnSpLocks/>
          </p:cNvCxnSpPr>
          <p:nvPr/>
        </p:nvCxnSpPr>
        <p:spPr>
          <a:xfrm flipH="1" flipV="1">
            <a:off x="3214942" y="1403561"/>
            <a:ext cx="319414" cy="226419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3" name="Straight Connector 1152">
            <a:extLst>
              <a:ext uri="{FF2B5EF4-FFF2-40B4-BE49-F238E27FC236}">
                <a16:creationId xmlns:a16="http://schemas.microsoft.com/office/drawing/2014/main" id="{2571C612-DEEF-11C2-EC00-E8EB86C21C33}"/>
              </a:ext>
            </a:extLst>
          </p:cNvPr>
          <p:cNvCxnSpPr>
            <a:cxnSpLocks/>
          </p:cNvCxnSpPr>
          <p:nvPr/>
        </p:nvCxnSpPr>
        <p:spPr>
          <a:xfrm>
            <a:off x="2745836" y="1403561"/>
            <a:ext cx="469106" cy="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5" name="Straight Connector 1154">
            <a:extLst>
              <a:ext uri="{FF2B5EF4-FFF2-40B4-BE49-F238E27FC236}">
                <a16:creationId xmlns:a16="http://schemas.microsoft.com/office/drawing/2014/main" id="{57337401-D170-ECB1-61FF-4AC02BFA2126}"/>
              </a:ext>
            </a:extLst>
          </p:cNvPr>
          <p:cNvCxnSpPr>
            <a:cxnSpLocks/>
          </p:cNvCxnSpPr>
          <p:nvPr/>
        </p:nvCxnSpPr>
        <p:spPr>
          <a:xfrm flipH="1" flipV="1">
            <a:off x="3928250" y="958263"/>
            <a:ext cx="319414" cy="226419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8" name="Straight Connector 1157">
            <a:extLst>
              <a:ext uri="{FF2B5EF4-FFF2-40B4-BE49-F238E27FC236}">
                <a16:creationId xmlns:a16="http://schemas.microsoft.com/office/drawing/2014/main" id="{0B64CA31-A954-0320-F5B0-901BABCCD7B3}"/>
              </a:ext>
            </a:extLst>
          </p:cNvPr>
          <p:cNvCxnSpPr>
            <a:cxnSpLocks/>
          </p:cNvCxnSpPr>
          <p:nvPr/>
        </p:nvCxnSpPr>
        <p:spPr>
          <a:xfrm>
            <a:off x="3459144" y="958263"/>
            <a:ext cx="469106" cy="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9" name="Straight Connector 1158">
            <a:extLst>
              <a:ext uri="{FF2B5EF4-FFF2-40B4-BE49-F238E27FC236}">
                <a16:creationId xmlns:a16="http://schemas.microsoft.com/office/drawing/2014/main" id="{705AC455-7182-6918-5D7A-4C574128DD23}"/>
              </a:ext>
            </a:extLst>
          </p:cNvPr>
          <p:cNvCxnSpPr>
            <a:cxnSpLocks/>
          </p:cNvCxnSpPr>
          <p:nvPr/>
        </p:nvCxnSpPr>
        <p:spPr>
          <a:xfrm flipH="1" flipV="1">
            <a:off x="4299380" y="768929"/>
            <a:ext cx="176674" cy="376378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0" name="Straight Connector 1159">
            <a:extLst>
              <a:ext uri="{FF2B5EF4-FFF2-40B4-BE49-F238E27FC236}">
                <a16:creationId xmlns:a16="http://schemas.microsoft.com/office/drawing/2014/main" id="{BEB7B260-14D6-A9D0-8516-AAB13647F5C9}"/>
              </a:ext>
            </a:extLst>
          </p:cNvPr>
          <p:cNvCxnSpPr>
            <a:cxnSpLocks/>
          </p:cNvCxnSpPr>
          <p:nvPr/>
        </p:nvCxnSpPr>
        <p:spPr>
          <a:xfrm>
            <a:off x="3919630" y="768929"/>
            <a:ext cx="379763" cy="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2" name="Straight Connector 1161">
            <a:extLst>
              <a:ext uri="{FF2B5EF4-FFF2-40B4-BE49-F238E27FC236}">
                <a16:creationId xmlns:a16="http://schemas.microsoft.com/office/drawing/2014/main" id="{06476115-1811-8728-03B6-EF0294711683}"/>
              </a:ext>
            </a:extLst>
          </p:cNvPr>
          <p:cNvCxnSpPr>
            <a:cxnSpLocks/>
          </p:cNvCxnSpPr>
          <p:nvPr/>
        </p:nvCxnSpPr>
        <p:spPr>
          <a:xfrm flipV="1">
            <a:off x="4586624" y="929372"/>
            <a:ext cx="85960" cy="215935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3" name="Straight Connector 1162">
            <a:extLst>
              <a:ext uri="{FF2B5EF4-FFF2-40B4-BE49-F238E27FC236}">
                <a16:creationId xmlns:a16="http://schemas.microsoft.com/office/drawing/2014/main" id="{0179E753-BD79-CB04-1881-FF3B8B95B9A7}"/>
              </a:ext>
            </a:extLst>
          </p:cNvPr>
          <p:cNvCxnSpPr>
            <a:cxnSpLocks/>
          </p:cNvCxnSpPr>
          <p:nvPr/>
        </p:nvCxnSpPr>
        <p:spPr>
          <a:xfrm>
            <a:off x="4672584" y="929372"/>
            <a:ext cx="309846" cy="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9547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  <p:bldP spid="4" grpId="0" build="p"/>
      <p:bldP spid="6" grpId="0"/>
      <p:bldP spid="8" grpId="0"/>
      <p:bldP spid="18" grpId="0"/>
      <p:bldP spid="20" grpId="0"/>
      <p:bldP spid="23" grpId="0"/>
      <p:bldP spid="25" grpId="0"/>
      <p:bldP spid="2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>
            <a:extLst>
              <a:ext uri="{FF2B5EF4-FFF2-40B4-BE49-F238E27FC236}">
                <a16:creationId xmlns:a16="http://schemas.microsoft.com/office/drawing/2014/main" id="{145648AA-6103-F281-FE5E-79F5EA9CF238}"/>
              </a:ext>
            </a:extLst>
          </p:cNvPr>
          <p:cNvGrpSpPr/>
          <p:nvPr/>
        </p:nvGrpSpPr>
        <p:grpSpPr>
          <a:xfrm flipH="1">
            <a:off x="-775634" y="4175456"/>
            <a:ext cx="1681333" cy="1583319"/>
            <a:chOff x="8275101" y="4292024"/>
            <a:chExt cx="1681333" cy="1583319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421B53B-3B69-849C-27F0-9BEA2CD21CE8}"/>
                </a:ext>
              </a:extLst>
            </p:cNvPr>
            <p:cNvSpPr/>
            <p:nvPr/>
          </p:nvSpPr>
          <p:spPr>
            <a:xfrm rot="18104199">
              <a:off x="8284674" y="4833234"/>
              <a:ext cx="1032536" cy="1051681"/>
            </a:xfrm>
            <a:prstGeom prst="rect">
              <a:avLst/>
            </a:prstGeom>
            <a:solidFill>
              <a:srgbClr val="D26E2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ACB684-E5E3-3B10-80B0-1C332843597A}"/>
                </a:ext>
              </a:extLst>
            </p:cNvPr>
            <p:cNvSpPr/>
            <p:nvPr/>
          </p:nvSpPr>
          <p:spPr>
            <a:xfrm rot="20606124">
              <a:off x="8730086" y="4292024"/>
              <a:ext cx="1226348" cy="1242590"/>
            </a:xfrm>
            <a:prstGeom prst="rect">
              <a:avLst/>
            </a:prstGeom>
            <a:solidFill>
              <a:srgbClr val="22212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30" name="Picture 2" descr="Evaluaties &amp; enquêtes">
              <a:extLst>
                <a:ext uri="{FF2B5EF4-FFF2-40B4-BE49-F238E27FC236}">
                  <a16:creationId xmlns:a16="http://schemas.microsoft.com/office/drawing/2014/main" id="{D179D474-6181-3A32-E70E-72698367D1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54" r="81029"/>
            <a:stretch/>
          </p:blipFill>
          <p:spPr bwMode="auto">
            <a:xfrm>
              <a:off x="8730143" y="4514757"/>
              <a:ext cx="369388" cy="7572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26" name="Graphic 1025" descr="Family with boy outline">
            <a:extLst>
              <a:ext uri="{FF2B5EF4-FFF2-40B4-BE49-F238E27FC236}">
                <a16:creationId xmlns:a16="http://schemas.microsoft.com/office/drawing/2014/main" id="{CF5229E2-FCFD-9D71-EB69-83E3B87722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85920" y="2049996"/>
            <a:ext cx="533540" cy="533540"/>
          </a:xfrm>
          <a:prstGeom prst="rect">
            <a:avLst/>
          </a:prstGeom>
        </p:spPr>
      </p:pic>
      <p:sp>
        <p:nvSpPr>
          <p:cNvPr id="1053" name="Rectangle 1052">
            <a:extLst>
              <a:ext uri="{FF2B5EF4-FFF2-40B4-BE49-F238E27FC236}">
                <a16:creationId xmlns:a16="http://schemas.microsoft.com/office/drawing/2014/main" id="{0749ECB1-F585-1D78-5241-2F185C5BD66F}"/>
              </a:ext>
            </a:extLst>
          </p:cNvPr>
          <p:cNvSpPr/>
          <p:nvPr/>
        </p:nvSpPr>
        <p:spPr>
          <a:xfrm>
            <a:off x="6034309" y="-271"/>
            <a:ext cx="3138122" cy="5163469"/>
          </a:xfrm>
          <a:prstGeom prst="rect">
            <a:avLst/>
          </a:prstGeom>
          <a:solidFill>
            <a:srgbClr val="22212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135" name="Straight Arrow Connector 1134">
            <a:extLst>
              <a:ext uri="{FF2B5EF4-FFF2-40B4-BE49-F238E27FC236}">
                <a16:creationId xmlns:a16="http://schemas.microsoft.com/office/drawing/2014/main" id="{30E72FFA-C30A-5546-F718-C4725820688D}"/>
              </a:ext>
            </a:extLst>
          </p:cNvPr>
          <p:cNvCxnSpPr>
            <a:cxnSpLocks/>
          </p:cNvCxnSpPr>
          <p:nvPr/>
        </p:nvCxnSpPr>
        <p:spPr>
          <a:xfrm flipV="1">
            <a:off x="6058838" y="4066636"/>
            <a:ext cx="1212745" cy="1076864"/>
          </a:xfrm>
          <a:prstGeom prst="straightConnector1">
            <a:avLst/>
          </a:prstGeom>
          <a:ln w="57150">
            <a:solidFill>
              <a:srgbClr val="FED650">
                <a:alpha val="16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7" name="Straight Arrow Connector 1136">
            <a:extLst>
              <a:ext uri="{FF2B5EF4-FFF2-40B4-BE49-F238E27FC236}">
                <a16:creationId xmlns:a16="http://schemas.microsoft.com/office/drawing/2014/main" id="{774E574A-9395-CECD-2AAE-F59BD62297E8}"/>
              </a:ext>
            </a:extLst>
          </p:cNvPr>
          <p:cNvCxnSpPr>
            <a:cxnSpLocks/>
          </p:cNvCxnSpPr>
          <p:nvPr/>
        </p:nvCxnSpPr>
        <p:spPr>
          <a:xfrm flipV="1">
            <a:off x="7016475" y="3653104"/>
            <a:ext cx="1657291" cy="1533686"/>
          </a:xfrm>
          <a:prstGeom prst="straightConnector1">
            <a:avLst/>
          </a:prstGeom>
          <a:ln w="57150">
            <a:solidFill>
              <a:srgbClr val="FED650">
                <a:alpha val="16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8" name="Straight Arrow Connector 1137">
            <a:extLst>
              <a:ext uri="{FF2B5EF4-FFF2-40B4-BE49-F238E27FC236}">
                <a16:creationId xmlns:a16="http://schemas.microsoft.com/office/drawing/2014/main" id="{4471519A-9E49-4C6C-7E5F-75C021C22F7B}"/>
              </a:ext>
            </a:extLst>
          </p:cNvPr>
          <p:cNvCxnSpPr>
            <a:cxnSpLocks/>
          </p:cNvCxnSpPr>
          <p:nvPr/>
        </p:nvCxnSpPr>
        <p:spPr>
          <a:xfrm flipV="1">
            <a:off x="5996126" y="2606092"/>
            <a:ext cx="1212745" cy="1076864"/>
          </a:xfrm>
          <a:prstGeom prst="straightConnector1">
            <a:avLst/>
          </a:prstGeom>
          <a:ln w="57150">
            <a:solidFill>
              <a:srgbClr val="FED650">
                <a:alpha val="16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9" name="Straight Arrow Connector 1138">
            <a:extLst>
              <a:ext uri="{FF2B5EF4-FFF2-40B4-BE49-F238E27FC236}">
                <a16:creationId xmlns:a16="http://schemas.microsoft.com/office/drawing/2014/main" id="{7F712E78-3914-B762-E443-19EF9B536232}"/>
              </a:ext>
            </a:extLst>
          </p:cNvPr>
          <p:cNvCxnSpPr>
            <a:cxnSpLocks/>
          </p:cNvCxnSpPr>
          <p:nvPr/>
        </p:nvCxnSpPr>
        <p:spPr>
          <a:xfrm flipV="1">
            <a:off x="6048375" y="1273766"/>
            <a:ext cx="1212745" cy="1076864"/>
          </a:xfrm>
          <a:prstGeom prst="straightConnector1">
            <a:avLst/>
          </a:prstGeom>
          <a:ln w="57150">
            <a:solidFill>
              <a:srgbClr val="FED650">
                <a:alpha val="16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0" name="Straight Arrow Connector 1139">
            <a:extLst>
              <a:ext uri="{FF2B5EF4-FFF2-40B4-BE49-F238E27FC236}">
                <a16:creationId xmlns:a16="http://schemas.microsoft.com/office/drawing/2014/main" id="{CD9D08C5-1F1D-3CBB-059F-F24823B46D62}"/>
              </a:ext>
            </a:extLst>
          </p:cNvPr>
          <p:cNvCxnSpPr>
            <a:cxnSpLocks/>
          </p:cNvCxnSpPr>
          <p:nvPr/>
        </p:nvCxnSpPr>
        <p:spPr>
          <a:xfrm flipV="1">
            <a:off x="6017814" y="744624"/>
            <a:ext cx="2662859" cy="2258043"/>
          </a:xfrm>
          <a:prstGeom prst="straightConnector1">
            <a:avLst/>
          </a:prstGeom>
          <a:ln w="57150">
            <a:solidFill>
              <a:srgbClr val="FED650">
                <a:alpha val="16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2" name="Straight Arrow Connector 1141">
            <a:extLst>
              <a:ext uri="{FF2B5EF4-FFF2-40B4-BE49-F238E27FC236}">
                <a16:creationId xmlns:a16="http://schemas.microsoft.com/office/drawing/2014/main" id="{E742E396-E4B5-3CD1-9606-86733254963E}"/>
              </a:ext>
            </a:extLst>
          </p:cNvPr>
          <p:cNvCxnSpPr>
            <a:cxnSpLocks/>
          </p:cNvCxnSpPr>
          <p:nvPr/>
        </p:nvCxnSpPr>
        <p:spPr>
          <a:xfrm flipV="1">
            <a:off x="6048375" y="1901633"/>
            <a:ext cx="2818392" cy="2476577"/>
          </a:xfrm>
          <a:prstGeom prst="straightConnector1">
            <a:avLst/>
          </a:prstGeom>
          <a:ln w="57150">
            <a:solidFill>
              <a:srgbClr val="FED650">
                <a:alpha val="16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7" name="Graphic 1046" descr="Close with solid fill">
            <a:extLst>
              <a:ext uri="{FF2B5EF4-FFF2-40B4-BE49-F238E27FC236}">
                <a16:creationId xmlns:a16="http://schemas.microsoft.com/office/drawing/2014/main" id="{CAE184FD-0770-7B99-9434-692B33D213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62469" y="2059189"/>
            <a:ext cx="900000" cy="900000"/>
          </a:xfrm>
          <a:prstGeom prst="rect">
            <a:avLst/>
          </a:prstGeom>
        </p:spPr>
      </p:pic>
      <p:pic>
        <p:nvPicPr>
          <p:cNvPr id="1051" name="Graphic 1050" descr="Close with solid fill">
            <a:extLst>
              <a:ext uri="{FF2B5EF4-FFF2-40B4-BE49-F238E27FC236}">
                <a16:creationId xmlns:a16="http://schemas.microsoft.com/office/drawing/2014/main" id="{66775BC5-10E2-E0F8-B0FB-96E2DF54242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40364" y="2892233"/>
            <a:ext cx="720000" cy="720000"/>
          </a:xfrm>
          <a:prstGeom prst="rect">
            <a:avLst/>
          </a:prstGeom>
        </p:spPr>
      </p:pic>
      <p:pic>
        <p:nvPicPr>
          <p:cNvPr id="1052" name="Graphic 1051" descr="Close with solid fill">
            <a:extLst>
              <a:ext uri="{FF2B5EF4-FFF2-40B4-BE49-F238E27FC236}">
                <a16:creationId xmlns:a16="http://schemas.microsoft.com/office/drawing/2014/main" id="{AAF726A9-D2EA-FE84-EE98-3FE4AE0574D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630364" y="3690108"/>
            <a:ext cx="540000" cy="540000"/>
          </a:xfrm>
          <a:prstGeom prst="rect">
            <a:avLst/>
          </a:prstGeom>
        </p:spPr>
      </p:pic>
      <p:sp>
        <p:nvSpPr>
          <p:cNvPr id="1073" name="Content Placeholder 2">
            <a:extLst>
              <a:ext uri="{FF2B5EF4-FFF2-40B4-BE49-F238E27FC236}">
                <a16:creationId xmlns:a16="http://schemas.microsoft.com/office/drawing/2014/main" id="{B6D3CA99-231D-F0EC-5EA9-874F8310A8B8}"/>
              </a:ext>
            </a:extLst>
          </p:cNvPr>
          <p:cNvSpPr txBox="1">
            <a:spLocks/>
          </p:cNvSpPr>
          <p:nvPr/>
        </p:nvSpPr>
        <p:spPr>
          <a:xfrm>
            <a:off x="6573468" y="837176"/>
            <a:ext cx="2025974" cy="802486"/>
          </a:xfrm>
          <a:prstGeom prst="rect">
            <a:avLst/>
          </a:prstGeom>
        </p:spPr>
        <p:txBody>
          <a:bodyPr vert="horz" lIns="0" tIns="0" rIns="0" bIns="45720" rtlCol="0" anchor="ctr">
            <a:normAutofit fontScale="40000" lnSpcReduction="20000"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5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6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3000" b="1" i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5  Foutieve zendingen</a:t>
            </a:r>
          </a:p>
          <a:p>
            <a:pPr marL="0" indent="0" algn="ctr">
              <a:buFontTx/>
              <a:buNone/>
            </a:pPr>
            <a:r>
              <a:rPr lang="nl-NL" sz="7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,3%</a:t>
            </a:r>
          </a:p>
        </p:txBody>
      </p:sp>
      <p:sp>
        <p:nvSpPr>
          <p:cNvPr id="1084" name="Content Placeholder 2">
            <a:extLst>
              <a:ext uri="{FF2B5EF4-FFF2-40B4-BE49-F238E27FC236}">
                <a16:creationId xmlns:a16="http://schemas.microsoft.com/office/drawing/2014/main" id="{096CB886-AED3-3C68-CC42-93AD37C9C21F}"/>
              </a:ext>
            </a:extLst>
          </p:cNvPr>
          <p:cNvSpPr txBox="1">
            <a:spLocks/>
          </p:cNvSpPr>
          <p:nvPr/>
        </p:nvSpPr>
        <p:spPr>
          <a:xfrm>
            <a:off x="7307423" y="2148779"/>
            <a:ext cx="1366343" cy="611067"/>
          </a:xfrm>
          <a:prstGeom prst="rect">
            <a:avLst/>
          </a:prstGeom>
        </p:spPr>
        <p:txBody>
          <a:bodyPr vert="horz" lIns="0" tIns="0" rIns="0" bIns="45720" rtlCol="0" anchor="ctr">
            <a:normAutofit fontScale="92500"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5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6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3200" b="1" i="1">
                <a:solidFill>
                  <a:schemeClr val="accent4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-Kaart</a:t>
            </a:r>
            <a:endParaRPr lang="nl-NL" sz="7400" b="1">
              <a:solidFill>
                <a:schemeClr val="accent4">
                  <a:lumMod val="60000"/>
                  <a:lumOff val="4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7" name="Content Placeholder 2">
            <a:extLst>
              <a:ext uri="{FF2B5EF4-FFF2-40B4-BE49-F238E27FC236}">
                <a16:creationId xmlns:a16="http://schemas.microsoft.com/office/drawing/2014/main" id="{44464D86-28E2-C6D2-6CDD-F628CA174CD8}"/>
              </a:ext>
            </a:extLst>
          </p:cNvPr>
          <p:cNvSpPr txBox="1">
            <a:spLocks/>
          </p:cNvSpPr>
          <p:nvPr/>
        </p:nvSpPr>
        <p:spPr>
          <a:xfrm>
            <a:off x="7265054" y="2944749"/>
            <a:ext cx="1366343" cy="611067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5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6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1600" b="1" err="1">
                <a:solidFill>
                  <a:schemeClr val="accent4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matriculatie</a:t>
            </a:r>
            <a:endParaRPr lang="nl-NL" sz="1600" b="1">
              <a:solidFill>
                <a:schemeClr val="accent4">
                  <a:lumMod val="40000"/>
                  <a:lumOff val="6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90" name="Content Placeholder 2">
            <a:extLst>
              <a:ext uri="{FF2B5EF4-FFF2-40B4-BE49-F238E27FC236}">
                <a16:creationId xmlns:a16="http://schemas.microsoft.com/office/drawing/2014/main" id="{92DA5A74-E7CD-B72F-A344-01E81F9389B7}"/>
              </a:ext>
            </a:extLst>
          </p:cNvPr>
          <p:cNvSpPr txBox="1">
            <a:spLocks/>
          </p:cNvSpPr>
          <p:nvPr/>
        </p:nvSpPr>
        <p:spPr>
          <a:xfrm>
            <a:off x="7159938" y="3656000"/>
            <a:ext cx="1366343" cy="611067"/>
          </a:xfrm>
          <a:prstGeom prst="rect">
            <a:avLst/>
          </a:prstGeom>
        </p:spPr>
        <p:txBody>
          <a:bodyPr vert="horz" lIns="0" tIns="0" rIns="0" bIns="45720" rtlCol="0" anchor="ctr">
            <a:noAutofit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5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6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1200" b="1">
                <a:solidFill>
                  <a:schemeClr val="accent4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scale toestand</a:t>
            </a:r>
          </a:p>
        </p:txBody>
      </p:sp>
      <p:grpSp>
        <p:nvGrpSpPr>
          <p:cNvPr id="1125" name="Group 1124">
            <a:extLst>
              <a:ext uri="{FF2B5EF4-FFF2-40B4-BE49-F238E27FC236}">
                <a16:creationId xmlns:a16="http://schemas.microsoft.com/office/drawing/2014/main" id="{33C99C5A-4B0F-6D39-BF8A-DF13D53E7F91}"/>
              </a:ext>
            </a:extLst>
          </p:cNvPr>
          <p:cNvGrpSpPr/>
          <p:nvPr/>
        </p:nvGrpSpPr>
        <p:grpSpPr>
          <a:xfrm rot="16993171">
            <a:off x="5863682" y="935122"/>
            <a:ext cx="1156473" cy="735491"/>
            <a:chOff x="6060809" y="731817"/>
            <a:chExt cx="811288" cy="664429"/>
          </a:xfrm>
        </p:grpSpPr>
        <p:cxnSp>
          <p:nvCxnSpPr>
            <p:cNvPr id="1123" name="Straight Arrow Connector 1122">
              <a:extLst>
                <a:ext uri="{FF2B5EF4-FFF2-40B4-BE49-F238E27FC236}">
                  <a16:creationId xmlns:a16="http://schemas.microsoft.com/office/drawing/2014/main" id="{E953B522-0E59-44C2-7815-86AC14973C5C}"/>
                </a:ext>
              </a:extLst>
            </p:cNvPr>
            <p:cNvCxnSpPr>
              <a:cxnSpLocks/>
              <a:stCxn id="1161" idx="1"/>
            </p:cNvCxnSpPr>
            <p:nvPr/>
          </p:nvCxnSpPr>
          <p:spPr>
            <a:xfrm rot="4606829" flipH="1" flipV="1">
              <a:off x="6524437" y="927526"/>
              <a:ext cx="365533" cy="329786"/>
            </a:xfrm>
            <a:prstGeom prst="straightConnector1">
              <a:avLst/>
            </a:prstGeom>
            <a:ln w="57150">
              <a:solidFill>
                <a:srgbClr val="FFFF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4" name="Straight Arrow Connector 1123">
              <a:extLst>
                <a:ext uri="{FF2B5EF4-FFF2-40B4-BE49-F238E27FC236}">
                  <a16:creationId xmlns:a16="http://schemas.microsoft.com/office/drawing/2014/main" id="{0F679CE1-A197-F234-ABA4-1EBAEDEAE457}"/>
                </a:ext>
              </a:extLst>
            </p:cNvPr>
            <p:cNvCxnSpPr>
              <a:cxnSpLocks/>
              <a:endCxn id="1161" idx="1"/>
            </p:cNvCxnSpPr>
            <p:nvPr/>
          </p:nvCxnSpPr>
          <p:spPr>
            <a:xfrm rot="4606829" flipV="1">
              <a:off x="5961346" y="831280"/>
              <a:ext cx="664429" cy="465504"/>
            </a:xfrm>
            <a:prstGeom prst="straightConnector1">
              <a:avLst/>
            </a:prstGeom>
            <a:ln w="57150">
              <a:solidFill>
                <a:srgbClr val="FFFFF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46" name="Straight Arrow Connector 1145">
            <a:extLst>
              <a:ext uri="{FF2B5EF4-FFF2-40B4-BE49-F238E27FC236}">
                <a16:creationId xmlns:a16="http://schemas.microsoft.com/office/drawing/2014/main" id="{7D874870-6B7A-8F41-0231-39ACA9D4EAEA}"/>
              </a:ext>
            </a:extLst>
          </p:cNvPr>
          <p:cNvCxnSpPr>
            <a:cxnSpLocks/>
          </p:cNvCxnSpPr>
          <p:nvPr/>
        </p:nvCxnSpPr>
        <p:spPr>
          <a:xfrm flipV="1">
            <a:off x="6040611" y="387043"/>
            <a:ext cx="1258941" cy="1118978"/>
          </a:xfrm>
          <a:prstGeom prst="straightConnector1">
            <a:avLst/>
          </a:prstGeom>
          <a:ln w="57150">
            <a:solidFill>
              <a:srgbClr val="FED650">
                <a:alpha val="16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54" name="Group 1153">
            <a:extLst>
              <a:ext uri="{FF2B5EF4-FFF2-40B4-BE49-F238E27FC236}">
                <a16:creationId xmlns:a16="http://schemas.microsoft.com/office/drawing/2014/main" id="{F08F6F77-2B9C-C648-55C5-95168BA2985A}"/>
              </a:ext>
            </a:extLst>
          </p:cNvPr>
          <p:cNvGrpSpPr/>
          <p:nvPr/>
        </p:nvGrpSpPr>
        <p:grpSpPr>
          <a:xfrm flipH="1">
            <a:off x="8392078" y="292413"/>
            <a:ext cx="939770" cy="1317138"/>
            <a:chOff x="6198110" y="426857"/>
            <a:chExt cx="659267" cy="1189876"/>
          </a:xfrm>
        </p:grpSpPr>
        <p:cxnSp>
          <p:nvCxnSpPr>
            <p:cNvPr id="1156" name="Straight Arrow Connector 1155">
              <a:extLst>
                <a:ext uri="{FF2B5EF4-FFF2-40B4-BE49-F238E27FC236}">
                  <a16:creationId xmlns:a16="http://schemas.microsoft.com/office/drawing/2014/main" id="{F11E1065-3EDB-6EDD-B5FE-646EF538E669}"/>
                </a:ext>
              </a:extLst>
            </p:cNvPr>
            <p:cNvCxnSpPr>
              <a:cxnSpLocks/>
              <a:stCxn id="1161" idx="3"/>
            </p:cNvCxnSpPr>
            <p:nvPr/>
          </p:nvCxnSpPr>
          <p:spPr>
            <a:xfrm flipH="1">
              <a:off x="6573523" y="1256704"/>
              <a:ext cx="283854" cy="360029"/>
            </a:xfrm>
            <a:prstGeom prst="straightConnector1">
              <a:avLst/>
            </a:prstGeom>
            <a:ln w="57150">
              <a:solidFill>
                <a:srgbClr val="FFFFF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7" name="Straight Arrow Connector 1156">
              <a:extLst>
                <a:ext uri="{FF2B5EF4-FFF2-40B4-BE49-F238E27FC236}">
                  <a16:creationId xmlns:a16="http://schemas.microsoft.com/office/drawing/2014/main" id="{E7B7742B-6915-7DED-4E60-6BEA610AF848}"/>
                </a:ext>
              </a:extLst>
            </p:cNvPr>
            <p:cNvCxnSpPr>
              <a:cxnSpLocks/>
              <a:endCxn id="1161" idx="3"/>
            </p:cNvCxnSpPr>
            <p:nvPr/>
          </p:nvCxnSpPr>
          <p:spPr>
            <a:xfrm>
              <a:off x="6198110" y="426857"/>
              <a:ext cx="659263" cy="829846"/>
            </a:xfrm>
            <a:prstGeom prst="straightConnector1">
              <a:avLst/>
            </a:prstGeom>
            <a:ln w="57150">
              <a:solidFill>
                <a:srgbClr val="FFFFF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61" name="Rectangle: Rounded Corners 1160">
            <a:extLst>
              <a:ext uri="{FF2B5EF4-FFF2-40B4-BE49-F238E27FC236}">
                <a16:creationId xmlns:a16="http://schemas.microsoft.com/office/drawing/2014/main" id="{70102454-3512-E054-7A29-77DC67644845}"/>
              </a:ext>
            </a:extLst>
          </p:cNvPr>
          <p:cNvSpPr/>
          <p:nvPr/>
        </p:nvSpPr>
        <p:spPr>
          <a:xfrm>
            <a:off x="6753303" y="747947"/>
            <a:ext cx="1638779" cy="926136"/>
          </a:xfrm>
          <a:prstGeom prst="roundRect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64" name="Title 1">
            <a:extLst>
              <a:ext uri="{FF2B5EF4-FFF2-40B4-BE49-F238E27FC236}">
                <a16:creationId xmlns:a16="http://schemas.microsoft.com/office/drawing/2014/main" id="{46E48977-852B-A84D-EB5E-1137293121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441" y="194155"/>
            <a:ext cx="7886700" cy="994172"/>
          </a:xfrm>
        </p:spPr>
        <p:txBody>
          <a:bodyPr/>
          <a:lstStyle/>
          <a:p>
            <a:r>
              <a:rPr lang="nl-BE" sz="2750" b="1">
                <a:latin typeface="Calibri"/>
                <a:ea typeface="Calibri"/>
                <a:cs typeface="Quire Sans"/>
              </a:rPr>
              <a:t>CIJFERS</a:t>
            </a:r>
          </a:p>
        </p:txBody>
      </p:sp>
      <p:graphicFrame>
        <p:nvGraphicFramePr>
          <p:cNvPr id="1066" name="Chart 2">
            <a:extLst>
              <a:ext uri="{FF2B5EF4-FFF2-40B4-BE49-F238E27FC236}">
                <a16:creationId xmlns:a16="http://schemas.microsoft.com/office/drawing/2014/main" id="{C14276E6-0544-2F2F-0A64-D037DB3CB2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6826647"/>
              </p:ext>
            </p:extLst>
          </p:nvPr>
        </p:nvGraphicFramePr>
        <p:xfrm>
          <a:off x="1890475" y="988269"/>
          <a:ext cx="3251965" cy="31095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068" name="Content Placeholder 2">
            <a:extLst>
              <a:ext uri="{FF2B5EF4-FFF2-40B4-BE49-F238E27FC236}">
                <a16:creationId xmlns:a16="http://schemas.microsoft.com/office/drawing/2014/main" id="{8655E20D-FD71-B43D-AD40-16B760B8C1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61698" y="2211999"/>
            <a:ext cx="1366343" cy="611067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nl-NL" sz="3200" b="1">
                <a:solidFill>
                  <a:srgbClr val="222124"/>
                </a:solidFill>
                <a:latin typeface="Calibri"/>
                <a:ea typeface="Calibri"/>
              </a:rPr>
              <a:t>14150</a:t>
            </a:r>
          </a:p>
        </p:txBody>
      </p:sp>
      <p:sp>
        <p:nvSpPr>
          <p:cNvPr id="1070" name="Content Placeholder 2">
            <a:extLst>
              <a:ext uri="{FF2B5EF4-FFF2-40B4-BE49-F238E27FC236}">
                <a16:creationId xmlns:a16="http://schemas.microsoft.com/office/drawing/2014/main" id="{514D0606-0590-AE0C-A80F-47E7C0B43F75}"/>
              </a:ext>
            </a:extLst>
          </p:cNvPr>
          <p:cNvSpPr txBox="1">
            <a:spLocks/>
          </p:cNvSpPr>
          <p:nvPr/>
        </p:nvSpPr>
        <p:spPr>
          <a:xfrm>
            <a:off x="3521912" y="4131978"/>
            <a:ext cx="932150" cy="285212"/>
          </a:xfrm>
          <a:prstGeom prst="rect">
            <a:avLst/>
          </a:prstGeom>
        </p:spPr>
        <p:txBody>
          <a:bodyPr vert="horz" lIns="0" tIns="0" rIns="0" bIns="45720" rtlCol="0" anchor="ctr">
            <a:normAutofit fontScale="92500" lnSpcReduction="10000"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5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6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>
                <a:latin typeface="Calibri"/>
                <a:ea typeface="Calibri"/>
              </a:rPr>
              <a:t>3190</a:t>
            </a:r>
          </a:p>
        </p:txBody>
      </p:sp>
      <p:sp>
        <p:nvSpPr>
          <p:cNvPr id="1072" name="Content Placeholder 2">
            <a:extLst>
              <a:ext uri="{FF2B5EF4-FFF2-40B4-BE49-F238E27FC236}">
                <a16:creationId xmlns:a16="http://schemas.microsoft.com/office/drawing/2014/main" id="{789AE15C-DED4-87DE-9988-43D0BA9B3871}"/>
              </a:ext>
            </a:extLst>
          </p:cNvPr>
          <p:cNvSpPr txBox="1">
            <a:spLocks/>
          </p:cNvSpPr>
          <p:nvPr/>
        </p:nvSpPr>
        <p:spPr>
          <a:xfrm>
            <a:off x="1349757" y="3290011"/>
            <a:ext cx="799095" cy="317715"/>
          </a:xfrm>
          <a:prstGeom prst="rect">
            <a:avLst/>
          </a:prstGeom>
        </p:spPr>
        <p:txBody>
          <a:bodyPr vert="horz" lIns="0" tIns="0" rIns="0" bIns="45720" rtlCol="0" anchor="ctr">
            <a:normAutofit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5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6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1500">
                <a:latin typeface="Calibri"/>
                <a:ea typeface="Calibri"/>
              </a:rPr>
              <a:t>2881</a:t>
            </a:r>
          </a:p>
        </p:txBody>
      </p:sp>
      <p:sp>
        <p:nvSpPr>
          <p:cNvPr id="1075" name="Content Placeholder 2">
            <a:extLst>
              <a:ext uri="{FF2B5EF4-FFF2-40B4-BE49-F238E27FC236}">
                <a16:creationId xmlns:a16="http://schemas.microsoft.com/office/drawing/2014/main" id="{78F542A9-4DA9-CC2A-45FB-D9F9AC5EA541}"/>
              </a:ext>
            </a:extLst>
          </p:cNvPr>
          <p:cNvSpPr txBox="1">
            <a:spLocks/>
          </p:cNvSpPr>
          <p:nvPr/>
        </p:nvSpPr>
        <p:spPr>
          <a:xfrm>
            <a:off x="5119300" y="1915823"/>
            <a:ext cx="824103" cy="284846"/>
          </a:xfrm>
          <a:prstGeom prst="rect">
            <a:avLst/>
          </a:prstGeom>
        </p:spPr>
        <p:txBody>
          <a:bodyPr vert="horz" lIns="0" tIns="0" rIns="0" bIns="45720" rtlCol="0" anchor="ctr">
            <a:normAutofit lnSpcReduction="10000"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5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6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1500">
                <a:latin typeface="Calibri"/>
                <a:ea typeface="Calibri"/>
              </a:rPr>
              <a:t>5481</a:t>
            </a:r>
          </a:p>
        </p:txBody>
      </p:sp>
      <p:sp>
        <p:nvSpPr>
          <p:cNvPr id="1077" name="Content Placeholder 2">
            <a:extLst>
              <a:ext uri="{FF2B5EF4-FFF2-40B4-BE49-F238E27FC236}">
                <a16:creationId xmlns:a16="http://schemas.microsoft.com/office/drawing/2014/main" id="{3E5B16A0-9F72-B407-035C-3588A8B3221D}"/>
              </a:ext>
            </a:extLst>
          </p:cNvPr>
          <p:cNvSpPr txBox="1">
            <a:spLocks/>
          </p:cNvSpPr>
          <p:nvPr/>
        </p:nvSpPr>
        <p:spPr>
          <a:xfrm>
            <a:off x="1516129" y="1175658"/>
            <a:ext cx="799095" cy="317715"/>
          </a:xfrm>
          <a:prstGeom prst="rect">
            <a:avLst/>
          </a:prstGeom>
        </p:spPr>
        <p:txBody>
          <a:bodyPr vert="horz" lIns="0" tIns="0" rIns="0" bIns="45720" rtlCol="0" anchor="ctr">
            <a:normAutofit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5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6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1500">
                <a:latin typeface="Calibri"/>
                <a:ea typeface="Calibri"/>
              </a:rPr>
              <a:t>1805</a:t>
            </a:r>
          </a:p>
        </p:txBody>
      </p:sp>
      <p:sp>
        <p:nvSpPr>
          <p:cNvPr id="1079" name="Content Placeholder 2">
            <a:extLst>
              <a:ext uri="{FF2B5EF4-FFF2-40B4-BE49-F238E27FC236}">
                <a16:creationId xmlns:a16="http://schemas.microsoft.com/office/drawing/2014/main" id="{40A80EF9-2675-D242-79C0-C9CE69807EB6}"/>
              </a:ext>
            </a:extLst>
          </p:cNvPr>
          <p:cNvSpPr txBox="1">
            <a:spLocks/>
          </p:cNvSpPr>
          <p:nvPr/>
        </p:nvSpPr>
        <p:spPr>
          <a:xfrm>
            <a:off x="2656469" y="534733"/>
            <a:ext cx="799095" cy="317715"/>
          </a:xfrm>
          <a:prstGeom prst="rect">
            <a:avLst/>
          </a:prstGeom>
        </p:spPr>
        <p:txBody>
          <a:bodyPr vert="horz" lIns="0" tIns="0" rIns="0" bIns="45720" rtlCol="0" anchor="ctr">
            <a:normAutofit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5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6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1500">
                <a:latin typeface="Calibri"/>
                <a:ea typeface="Calibri"/>
              </a:rPr>
              <a:t>310</a:t>
            </a:r>
          </a:p>
        </p:txBody>
      </p:sp>
      <p:sp>
        <p:nvSpPr>
          <p:cNvPr id="1081" name="Content Placeholder 2">
            <a:extLst>
              <a:ext uri="{FF2B5EF4-FFF2-40B4-BE49-F238E27FC236}">
                <a16:creationId xmlns:a16="http://schemas.microsoft.com/office/drawing/2014/main" id="{1007B68F-30FF-783B-65CB-08A77A4C8298}"/>
              </a:ext>
            </a:extLst>
          </p:cNvPr>
          <p:cNvSpPr txBox="1">
            <a:spLocks/>
          </p:cNvSpPr>
          <p:nvPr/>
        </p:nvSpPr>
        <p:spPr>
          <a:xfrm>
            <a:off x="2194315" y="722122"/>
            <a:ext cx="799095" cy="317715"/>
          </a:xfrm>
          <a:prstGeom prst="rect">
            <a:avLst/>
          </a:prstGeom>
        </p:spPr>
        <p:txBody>
          <a:bodyPr vert="horz" lIns="0" tIns="0" rIns="0" bIns="45720" rtlCol="0" anchor="ctr">
            <a:normAutofit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5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6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1500">
                <a:latin typeface="Calibri"/>
                <a:ea typeface="Calibri"/>
              </a:rPr>
              <a:t>465</a:t>
            </a:r>
          </a:p>
        </p:txBody>
      </p:sp>
      <p:sp>
        <p:nvSpPr>
          <p:cNvPr id="1083" name="Content Placeholder 2">
            <a:extLst>
              <a:ext uri="{FF2B5EF4-FFF2-40B4-BE49-F238E27FC236}">
                <a16:creationId xmlns:a16="http://schemas.microsoft.com/office/drawing/2014/main" id="{F8E28482-CB8A-3FB3-8FEB-B8ECC3DE4307}"/>
              </a:ext>
            </a:extLst>
          </p:cNvPr>
          <p:cNvSpPr txBox="1">
            <a:spLocks/>
          </p:cNvSpPr>
          <p:nvPr/>
        </p:nvSpPr>
        <p:spPr>
          <a:xfrm>
            <a:off x="3354935" y="700014"/>
            <a:ext cx="799095" cy="317715"/>
          </a:xfrm>
          <a:prstGeom prst="rect">
            <a:avLst/>
          </a:prstGeom>
        </p:spPr>
        <p:txBody>
          <a:bodyPr vert="horz" lIns="0" tIns="0" rIns="0" bIns="45720" rtlCol="0" anchor="ctr">
            <a:normAutofit/>
          </a:bodyPr>
          <a:lstStyle>
            <a:lvl1pPr marL="216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65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1pPr>
            <a:lvl2pPr marL="432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4"/>
              </a:buBlip>
              <a:tabLst/>
              <a:defRPr sz="1650" kern="1200" spc="0" baseline="0">
                <a:solidFill>
                  <a:srgbClr val="9B9B9B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2pPr>
            <a:lvl3pPr marL="648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85000"/>
              <a:buFontTx/>
              <a:buBlip>
                <a:blip r:embed="rId15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3pPr>
            <a:lvl4pPr marL="864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75000"/>
              <a:buFontTx/>
              <a:buBlip>
                <a:blip r:embed="rId16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4pPr>
            <a:lvl5pPr marL="1080000" marR="0" indent="-216000" algn="l" defTabSz="685800" rtl="0" eaLnBrk="1" fontAlgn="auto" latinLnBrk="0" hangingPunct="1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buClrTx/>
              <a:buSzPct val="90000"/>
              <a:buFontTx/>
              <a:buBlip>
                <a:blip r:embed="rId13"/>
              </a:buBlip>
              <a:tabLst/>
              <a:defRPr sz="1500" kern="1200" spc="0" baseline="0">
                <a:solidFill>
                  <a:schemeClr val="tx1"/>
                </a:solidFill>
                <a:latin typeface="FlandersArtSans-Regular" panose="00000500000000000000" pitchFamily="2" charset="0"/>
                <a:ea typeface="+mn-ea"/>
                <a:cs typeface="Calibri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nl-NL" sz="1500">
                <a:latin typeface="Calibri"/>
                <a:ea typeface="Calibri"/>
              </a:rPr>
              <a:t>20</a:t>
            </a:r>
          </a:p>
        </p:txBody>
      </p:sp>
      <p:pic>
        <p:nvPicPr>
          <p:cNvPr id="1086" name="Graphic 1085" descr="Family with boy outline">
            <a:extLst>
              <a:ext uri="{FF2B5EF4-FFF2-40B4-BE49-F238E27FC236}">
                <a16:creationId xmlns:a16="http://schemas.microsoft.com/office/drawing/2014/main" id="{84C80D8A-C240-915B-208A-2FF9F63CFF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85716" y="2004618"/>
            <a:ext cx="533540" cy="533540"/>
          </a:xfrm>
          <a:prstGeom prst="rect">
            <a:avLst/>
          </a:prstGeom>
        </p:spPr>
      </p:pic>
      <p:pic>
        <p:nvPicPr>
          <p:cNvPr id="1089" name="Graphic 1088" descr="Follow outline">
            <a:extLst>
              <a:ext uri="{FF2B5EF4-FFF2-40B4-BE49-F238E27FC236}">
                <a16:creationId xmlns:a16="http://schemas.microsoft.com/office/drawing/2014/main" id="{C98A15D7-14D3-374D-C939-8AB27868ACD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250780" y="3346923"/>
            <a:ext cx="562406" cy="562406"/>
          </a:xfrm>
          <a:prstGeom prst="rect">
            <a:avLst/>
          </a:prstGeom>
        </p:spPr>
      </p:pic>
      <p:pic>
        <p:nvPicPr>
          <p:cNvPr id="1092" name="Graphic 1091" descr="Euro with solid fill">
            <a:extLst>
              <a:ext uri="{FF2B5EF4-FFF2-40B4-BE49-F238E27FC236}">
                <a16:creationId xmlns:a16="http://schemas.microsoft.com/office/drawing/2014/main" id="{63273C5A-5461-D51B-7211-7AD764A10E8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259085" y="2610715"/>
            <a:ext cx="434215" cy="434215"/>
          </a:xfrm>
          <a:prstGeom prst="rect">
            <a:avLst/>
          </a:prstGeom>
        </p:spPr>
      </p:pic>
      <p:pic>
        <p:nvPicPr>
          <p:cNvPr id="1094" name="Graphic 1093" descr="Employee badge outline">
            <a:extLst>
              <a:ext uri="{FF2B5EF4-FFF2-40B4-BE49-F238E27FC236}">
                <a16:creationId xmlns:a16="http://schemas.microsoft.com/office/drawing/2014/main" id="{8F4D6BD9-7273-F2AF-7BC1-55AA36F359B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541915" y="1510493"/>
            <a:ext cx="481624" cy="481624"/>
          </a:xfrm>
          <a:prstGeom prst="rect">
            <a:avLst/>
          </a:prstGeom>
        </p:spPr>
      </p:pic>
      <p:cxnSp>
        <p:nvCxnSpPr>
          <p:cNvPr id="1096" name="Straight Connector 1144">
            <a:extLst>
              <a:ext uri="{FF2B5EF4-FFF2-40B4-BE49-F238E27FC236}">
                <a16:creationId xmlns:a16="http://schemas.microsoft.com/office/drawing/2014/main" id="{1EBCD792-FBB0-E7EA-38F8-762806124E1B}"/>
              </a:ext>
            </a:extLst>
          </p:cNvPr>
          <p:cNvCxnSpPr>
            <a:cxnSpLocks/>
          </p:cNvCxnSpPr>
          <p:nvPr/>
        </p:nvCxnSpPr>
        <p:spPr>
          <a:xfrm flipV="1">
            <a:off x="4901935" y="2134050"/>
            <a:ext cx="386164" cy="181676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8" name="Straight Connector 1146">
            <a:extLst>
              <a:ext uri="{FF2B5EF4-FFF2-40B4-BE49-F238E27FC236}">
                <a16:creationId xmlns:a16="http://schemas.microsoft.com/office/drawing/2014/main" id="{7F308493-5BDA-B008-5335-8F6E0B92BD36}"/>
              </a:ext>
            </a:extLst>
          </p:cNvPr>
          <p:cNvCxnSpPr>
            <a:cxnSpLocks/>
          </p:cNvCxnSpPr>
          <p:nvPr/>
        </p:nvCxnSpPr>
        <p:spPr>
          <a:xfrm>
            <a:off x="5288099" y="2134050"/>
            <a:ext cx="469106" cy="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0" name="Straight Connector 1147">
            <a:extLst>
              <a:ext uri="{FF2B5EF4-FFF2-40B4-BE49-F238E27FC236}">
                <a16:creationId xmlns:a16="http://schemas.microsoft.com/office/drawing/2014/main" id="{7B537862-E460-D3F5-1750-A198843DFE5B}"/>
              </a:ext>
            </a:extLst>
          </p:cNvPr>
          <p:cNvCxnSpPr>
            <a:cxnSpLocks/>
          </p:cNvCxnSpPr>
          <p:nvPr/>
        </p:nvCxnSpPr>
        <p:spPr>
          <a:xfrm>
            <a:off x="3574230" y="3967074"/>
            <a:ext cx="161822" cy="37678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2" name="Straight Connector 1148">
            <a:extLst>
              <a:ext uri="{FF2B5EF4-FFF2-40B4-BE49-F238E27FC236}">
                <a16:creationId xmlns:a16="http://schemas.microsoft.com/office/drawing/2014/main" id="{1FFAA0F9-F8AD-4427-1240-A570F28F70D3}"/>
              </a:ext>
            </a:extLst>
          </p:cNvPr>
          <p:cNvCxnSpPr>
            <a:cxnSpLocks/>
          </p:cNvCxnSpPr>
          <p:nvPr/>
        </p:nvCxnSpPr>
        <p:spPr>
          <a:xfrm>
            <a:off x="3736052" y="4343854"/>
            <a:ext cx="469106" cy="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4" name="Straight Connector 1149">
            <a:extLst>
              <a:ext uri="{FF2B5EF4-FFF2-40B4-BE49-F238E27FC236}">
                <a16:creationId xmlns:a16="http://schemas.microsoft.com/office/drawing/2014/main" id="{21878F3A-C1B9-3C5F-36C7-47BE021C2C49}"/>
              </a:ext>
            </a:extLst>
          </p:cNvPr>
          <p:cNvCxnSpPr>
            <a:cxnSpLocks/>
          </p:cNvCxnSpPr>
          <p:nvPr/>
        </p:nvCxnSpPr>
        <p:spPr>
          <a:xfrm flipH="1">
            <a:off x="1983858" y="3208895"/>
            <a:ext cx="282854" cy="302219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6" name="Straight Connector 1150">
            <a:extLst>
              <a:ext uri="{FF2B5EF4-FFF2-40B4-BE49-F238E27FC236}">
                <a16:creationId xmlns:a16="http://schemas.microsoft.com/office/drawing/2014/main" id="{549E7E86-BDAB-AA9E-3456-E51306E732E1}"/>
              </a:ext>
            </a:extLst>
          </p:cNvPr>
          <p:cNvCxnSpPr>
            <a:cxnSpLocks/>
          </p:cNvCxnSpPr>
          <p:nvPr/>
        </p:nvCxnSpPr>
        <p:spPr>
          <a:xfrm>
            <a:off x="1514752" y="3511114"/>
            <a:ext cx="469106" cy="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8" name="Straight Connector 1151">
            <a:extLst>
              <a:ext uri="{FF2B5EF4-FFF2-40B4-BE49-F238E27FC236}">
                <a16:creationId xmlns:a16="http://schemas.microsoft.com/office/drawing/2014/main" id="{716BFE6A-BB30-4076-0A83-78A93A92C5C0}"/>
              </a:ext>
            </a:extLst>
          </p:cNvPr>
          <p:cNvCxnSpPr>
            <a:cxnSpLocks/>
          </p:cNvCxnSpPr>
          <p:nvPr/>
        </p:nvCxnSpPr>
        <p:spPr>
          <a:xfrm flipH="1" flipV="1">
            <a:off x="2150230" y="1411390"/>
            <a:ext cx="319414" cy="226419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0" name="Straight Connector 1152">
            <a:extLst>
              <a:ext uri="{FF2B5EF4-FFF2-40B4-BE49-F238E27FC236}">
                <a16:creationId xmlns:a16="http://schemas.microsoft.com/office/drawing/2014/main" id="{419A8D54-E7DD-A44A-3119-E4C66F2ACD5A}"/>
              </a:ext>
            </a:extLst>
          </p:cNvPr>
          <p:cNvCxnSpPr>
            <a:cxnSpLocks/>
          </p:cNvCxnSpPr>
          <p:nvPr/>
        </p:nvCxnSpPr>
        <p:spPr>
          <a:xfrm>
            <a:off x="1681124" y="1411390"/>
            <a:ext cx="469106" cy="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2" name="Straight Connector 1154">
            <a:extLst>
              <a:ext uri="{FF2B5EF4-FFF2-40B4-BE49-F238E27FC236}">
                <a16:creationId xmlns:a16="http://schemas.microsoft.com/office/drawing/2014/main" id="{1D091E3C-E78B-3BE2-1CA7-3DD2C6B7D118}"/>
              </a:ext>
            </a:extLst>
          </p:cNvPr>
          <p:cNvCxnSpPr>
            <a:cxnSpLocks/>
          </p:cNvCxnSpPr>
          <p:nvPr/>
        </p:nvCxnSpPr>
        <p:spPr>
          <a:xfrm flipH="1" flipV="1">
            <a:off x="2863538" y="966092"/>
            <a:ext cx="319414" cy="226419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4" name="Straight Connector 1157">
            <a:extLst>
              <a:ext uri="{FF2B5EF4-FFF2-40B4-BE49-F238E27FC236}">
                <a16:creationId xmlns:a16="http://schemas.microsoft.com/office/drawing/2014/main" id="{FA58AD83-88C6-29F2-74E4-0F9EA86AB6F1}"/>
              </a:ext>
            </a:extLst>
          </p:cNvPr>
          <p:cNvCxnSpPr>
            <a:cxnSpLocks/>
          </p:cNvCxnSpPr>
          <p:nvPr/>
        </p:nvCxnSpPr>
        <p:spPr>
          <a:xfrm>
            <a:off x="2394432" y="966092"/>
            <a:ext cx="469106" cy="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6" name="Straight Connector 1158">
            <a:extLst>
              <a:ext uri="{FF2B5EF4-FFF2-40B4-BE49-F238E27FC236}">
                <a16:creationId xmlns:a16="http://schemas.microsoft.com/office/drawing/2014/main" id="{32448DB8-4F3D-41D8-DA73-870DDCF98585}"/>
              </a:ext>
            </a:extLst>
          </p:cNvPr>
          <p:cNvCxnSpPr>
            <a:cxnSpLocks/>
          </p:cNvCxnSpPr>
          <p:nvPr/>
        </p:nvCxnSpPr>
        <p:spPr>
          <a:xfrm flipH="1" flipV="1">
            <a:off x="3234668" y="776758"/>
            <a:ext cx="176674" cy="376378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8" name="Straight Connector 1159">
            <a:extLst>
              <a:ext uri="{FF2B5EF4-FFF2-40B4-BE49-F238E27FC236}">
                <a16:creationId xmlns:a16="http://schemas.microsoft.com/office/drawing/2014/main" id="{7A87901E-120D-88DB-7575-F55D2ABA1EF8}"/>
              </a:ext>
            </a:extLst>
          </p:cNvPr>
          <p:cNvCxnSpPr>
            <a:cxnSpLocks/>
          </p:cNvCxnSpPr>
          <p:nvPr/>
        </p:nvCxnSpPr>
        <p:spPr>
          <a:xfrm>
            <a:off x="2854918" y="776758"/>
            <a:ext cx="379763" cy="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0" name="Straight Connector 1161">
            <a:extLst>
              <a:ext uri="{FF2B5EF4-FFF2-40B4-BE49-F238E27FC236}">
                <a16:creationId xmlns:a16="http://schemas.microsoft.com/office/drawing/2014/main" id="{22467EC2-D4F9-6EEA-2020-1A46A9CF3C10}"/>
              </a:ext>
            </a:extLst>
          </p:cNvPr>
          <p:cNvCxnSpPr>
            <a:cxnSpLocks/>
          </p:cNvCxnSpPr>
          <p:nvPr/>
        </p:nvCxnSpPr>
        <p:spPr>
          <a:xfrm flipV="1">
            <a:off x="3521912" y="937201"/>
            <a:ext cx="85960" cy="215935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2" name="Straight Connector 1162">
            <a:extLst>
              <a:ext uri="{FF2B5EF4-FFF2-40B4-BE49-F238E27FC236}">
                <a16:creationId xmlns:a16="http://schemas.microsoft.com/office/drawing/2014/main" id="{45E5675E-0C75-3337-8422-2028BF6871CA}"/>
              </a:ext>
            </a:extLst>
          </p:cNvPr>
          <p:cNvCxnSpPr>
            <a:cxnSpLocks/>
          </p:cNvCxnSpPr>
          <p:nvPr/>
        </p:nvCxnSpPr>
        <p:spPr>
          <a:xfrm>
            <a:off x="3607872" y="937201"/>
            <a:ext cx="309846" cy="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20306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221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Freeform: Shape 2055">
            <a:extLst>
              <a:ext uri="{FF2B5EF4-FFF2-40B4-BE49-F238E27FC236}">
                <a16:creationId xmlns:a16="http://schemas.microsoft.com/office/drawing/2014/main" id="{B00855FA-842E-F7ED-2165-FE53EA0D459A}"/>
              </a:ext>
            </a:extLst>
          </p:cNvPr>
          <p:cNvSpPr/>
          <p:nvPr/>
        </p:nvSpPr>
        <p:spPr>
          <a:xfrm>
            <a:off x="3437993" y="-312420"/>
            <a:ext cx="2398006" cy="6263640"/>
          </a:xfrm>
          <a:custGeom>
            <a:avLst/>
            <a:gdLst>
              <a:gd name="connsiteX0" fmla="*/ 1855627 w 2398006"/>
              <a:gd name="connsiteY0" fmla="*/ 0 h 6263640"/>
              <a:gd name="connsiteX1" fmla="*/ 362107 w 2398006"/>
              <a:gd name="connsiteY1" fmla="*/ 693420 h 6263640"/>
              <a:gd name="connsiteX2" fmla="*/ 156367 w 2398006"/>
              <a:gd name="connsiteY2" fmla="*/ 2453640 h 6263640"/>
              <a:gd name="connsiteX3" fmla="*/ 2343307 w 2398006"/>
              <a:gd name="connsiteY3" fmla="*/ 3802380 h 6263640"/>
              <a:gd name="connsiteX4" fmla="*/ 1657507 w 2398006"/>
              <a:gd name="connsiteY4" fmla="*/ 5455920 h 6263640"/>
              <a:gd name="connsiteX5" fmla="*/ 773587 w 2398006"/>
              <a:gd name="connsiteY5" fmla="*/ 6263640 h 6263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98006" h="6263640">
                <a:moveTo>
                  <a:pt x="1855627" y="0"/>
                </a:moveTo>
                <a:cubicBezTo>
                  <a:pt x="1250472" y="142240"/>
                  <a:pt x="645317" y="284480"/>
                  <a:pt x="362107" y="693420"/>
                </a:cubicBezTo>
                <a:cubicBezTo>
                  <a:pt x="78897" y="1102360"/>
                  <a:pt x="-173833" y="1935480"/>
                  <a:pt x="156367" y="2453640"/>
                </a:cubicBezTo>
                <a:cubicBezTo>
                  <a:pt x="486567" y="2971800"/>
                  <a:pt x="2093117" y="3302000"/>
                  <a:pt x="2343307" y="3802380"/>
                </a:cubicBezTo>
                <a:cubicBezTo>
                  <a:pt x="2593497" y="4302760"/>
                  <a:pt x="1919127" y="5045710"/>
                  <a:pt x="1657507" y="5455920"/>
                </a:cubicBezTo>
                <a:cubicBezTo>
                  <a:pt x="1395887" y="5866130"/>
                  <a:pt x="862487" y="6123940"/>
                  <a:pt x="773587" y="6263640"/>
                </a:cubicBezTo>
              </a:path>
            </a:pathLst>
          </a:custGeom>
          <a:noFill/>
          <a:ln w="571500">
            <a:solidFill>
              <a:srgbClr val="D26E25">
                <a:alpha val="19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/>
              <a:ea typeface="Calibri"/>
              <a:cs typeface="Calibri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DB1F33F-25BD-675A-271D-CB95AA355AB9}"/>
              </a:ext>
            </a:extLst>
          </p:cNvPr>
          <p:cNvSpPr txBox="1">
            <a:spLocks/>
          </p:cNvSpPr>
          <p:nvPr/>
        </p:nvSpPr>
        <p:spPr>
          <a:xfrm>
            <a:off x="628650" y="183987"/>
            <a:ext cx="7886700" cy="9941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2850"/>
              </a:lnSpc>
              <a:spcBef>
                <a:spcPct val="0"/>
              </a:spcBef>
              <a:buNone/>
              <a:defRPr sz="277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l-BE" b="1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VOORUITBLIK 2024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1DF3992-5074-E64C-471D-DBB1D373BAF6}"/>
              </a:ext>
            </a:extLst>
          </p:cNvPr>
          <p:cNvSpPr txBox="1"/>
          <p:nvPr/>
        </p:nvSpPr>
        <p:spPr>
          <a:xfrm>
            <a:off x="931857" y="991852"/>
            <a:ext cx="3020827" cy="104644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nl-BE" sz="2000" b="1">
                <a:solidFill>
                  <a:srgbClr val="FFFFFF"/>
                </a:solidFill>
                <a:latin typeface="Calibiri"/>
                <a:ea typeface="Calibri"/>
                <a:cs typeface="Calibri"/>
              </a:rPr>
              <a:t>API Aanpassingen Q3 2024</a:t>
            </a:r>
          </a:p>
          <a:p>
            <a:r>
              <a:rPr lang="nl-BE" sz="1400">
                <a:solidFill>
                  <a:srgbClr val="FFFFFF"/>
                </a:solidFill>
                <a:latin typeface="Calibiri"/>
                <a:ea typeface="Calibri"/>
                <a:cs typeface="Calibri"/>
              </a:rPr>
              <a:t>Wegvallen persoonsgegevens</a:t>
            </a:r>
          </a:p>
          <a:p>
            <a:r>
              <a:rPr lang="nl-BE" sz="1400">
                <a:solidFill>
                  <a:srgbClr val="FFFFFF"/>
                </a:solidFill>
                <a:latin typeface="Calibiri"/>
                <a:ea typeface="Calibri"/>
                <a:cs typeface="Calibri"/>
              </a:rPr>
              <a:t>Feitelijk gescheiden</a:t>
            </a:r>
          </a:p>
          <a:p>
            <a:r>
              <a:rPr lang="nl-BE" sz="1400">
                <a:solidFill>
                  <a:srgbClr val="FFFFFF"/>
                </a:solidFill>
                <a:latin typeface="Calibiri"/>
                <a:ea typeface="Calibri"/>
                <a:cs typeface="Calibri"/>
              </a:rPr>
              <a:t>V1 &amp; V2 </a:t>
            </a:r>
            <a:r>
              <a:rPr lang="nl-BE" sz="1400" err="1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backwards</a:t>
            </a:r>
            <a:r>
              <a:rPr lang="nl-BE" sz="1400">
                <a:solidFill>
                  <a:srgbClr val="FFFFFF"/>
                </a:solidFill>
                <a:latin typeface="Calibiri"/>
                <a:ea typeface="Calibri"/>
                <a:cs typeface="Calibri"/>
              </a:rPr>
              <a:t> compatible zij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1660F7A-F13D-4FD8-1104-18E87C110859}"/>
              </a:ext>
            </a:extLst>
          </p:cNvPr>
          <p:cNvSpPr/>
          <p:nvPr/>
        </p:nvSpPr>
        <p:spPr>
          <a:xfrm rot="16200000">
            <a:off x="-795230" y="-47288"/>
            <a:ext cx="45719" cy="2495589"/>
          </a:xfrm>
          <a:prstGeom prst="rect">
            <a:avLst/>
          </a:prstGeom>
          <a:solidFill>
            <a:srgbClr val="D26E2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/>
              <a:ea typeface="Calibri"/>
              <a:cs typeface="Calibri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715EE4F-F7EC-4195-0824-ED3354BE2438}"/>
              </a:ext>
            </a:extLst>
          </p:cNvPr>
          <p:cNvSpPr txBox="1"/>
          <p:nvPr/>
        </p:nvSpPr>
        <p:spPr>
          <a:xfrm>
            <a:off x="944285" y="2754462"/>
            <a:ext cx="4585776" cy="104644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nl-BE" sz="2000" b="1" dirty="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2-wekelijkse releases </a:t>
            </a:r>
            <a:endParaRPr lang="nl-BE" sz="2000" b="1">
              <a:solidFill>
                <a:srgbClr val="FFFFFF"/>
              </a:solidFill>
              <a:latin typeface="Calibri"/>
              <a:ea typeface="Calibri"/>
              <a:cs typeface="Calibri"/>
            </a:endParaRPr>
          </a:p>
          <a:p>
            <a:r>
              <a:rPr lang="nl-BE" sz="1400" dirty="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Woensdag 16u</a:t>
            </a:r>
          </a:p>
          <a:p>
            <a:r>
              <a:rPr lang="nl-BE" sz="1400" dirty="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max 30 minuten</a:t>
            </a:r>
          </a:p>
          <a:p>
            <a:r>
              <a:rPr lang="nl-BE" sz="1400" dirty="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17/07, 31/07, </a:t>
            </a:r>
            <a:r>
              <a:rPr lang="nl-BE" sz="1400" b="1" dirty="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14/08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1328D32-62D4-89E1-3830-7B4FDDF7F426}"/>
              </a:ext>
            </a:extLst>
          </p:cNvPr>
          <p:cNvGrpSpPr/>
          <p:nvPr/>
        </p:nvGrpSpPr>
        <p:grpSpPr>
          <a:xfrm>
            <a:off x="446726" y="967921"/>
            <a:ext cx="485131" cy="466956"/>
            <a:chOff x="708746" y="3781863"/>
            <a:chExt cx="540000" cy="540000"/>
          </a:xfrm>
          <a:solidFill>
            <a:srgbClr val="D26E25"/>
          </a:solidFill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E1BCFE6D-2418-868A-3A30-453336805E5F}"/>
                </a:ext>
              </a:extLst>
            </p:cNvPr>
            <p:cNvSpPr/>
            <p:nvPr/>
          </p:nvSpPr>
          <p:spPr>
            <a:xfrm>
              <a:off x="708746" y="3781863"/>
              <a:ext cx="540000" cy="540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2400" b="1">
                  <a:solidFill>
                    <a:schemeClr val="bg1">
                      <a:lumMod val="95000"/>
                    </a:schemeClr>
                  </a:solidFill>
                  <a:latin typeface="Calibri"/>
                  <a:ea typeface="Calibri"/>
                  <a:cs typeface="Calibri"/>
                </a:rPr>
                <a:t>1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F653240-088E-9724-4A16-85ADA7CA09B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6431" y="3831573"/>
              <a:ext cx="438518" cy="438518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1600">
                  <a:solidFill>
                    <a:schemeClr val="bg1">
                      <a:lumMod val="95000"/>
                    </a:schemeClr>
                  </a:solidFill>
                  <a:latin typeface="Calibri"/>
                  <a:ea typeface="Calibri"/>
                  <a:cs typeface="Calibri"/>
                </a:rPr>
                <a:t>1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B5F20C9-A229-0BEF-1568-D48354BBFD51}"/>
              </a:ext>
            </a:extLst>
          </p:cNvPr>
          <p:cNvGrpSpPr/>
          <p:nvPr/>
        </p:nvGrpSpPr>
        <p:grpSpPr>
          <a:xfrm>
            <a:off x="8111454" y="1555360"/>
            <a:ext cx="540000" cy="540000"/>
            <a:chOff x="708746" y="3781863"/>
            <a:chExt cx="540000" cy="540000"/>
          </a:xfrm>
          <a:solidFill>
            <a:srgbClr val="D26E25"/>
          </a:solidFill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9D69B920-1AC3-4804-99C1-85444397D710}"/>
                </a:ext>
              </a:extLst>
            </p:cNvPr>
            <p:cNvSpPr/>
            <p:nvPr/>
          </p:nvSpPr>
          <p:spPr>
            <a:xfrm>
              <a:off x="708746" y="3781863"/>
              <a:ext cx="540000" cy="540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2400" b="1">
                  <a:solidFill>
                    <a:schemeClr val="bg1">
                      <a:lumMod val="95000"/>
                    </a:schemeClr>
                  </a:solidFill>
                  <a:latin typeface="Calibri"/>
                  <a:ea typeface="Calibri"/>
                  <a:cs typeface="Calibri"/>
                </a:rPr>
                <a:t>2</a:t>
              </a: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E1739311-C059-24FD-EDD7-A9746C7424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6431" y="3831573"/>
              <a:ext cx="438518" cy="438518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1600">
                  <a:solidFill>
                    <a:schemeClr val="bg1">
                      <a:lumMod val="95000"/>
                    </a:schemeClr>
                  </a:solidFill>
                  <a:latin typeface="Calibri"/>
                  <a:ea typeface="Calibri"/>
                  <a:cs typeface="Calibri"/>
                </a:rPr>
                <a:t>2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3D10315-150F-451E-B289-4B7EBC79AB98}"/>
              </a:ext>
            </a:extLst>
          </p:cNvPr>
          <p:cNvGrpSpPr/>
          <p:nvPr/>
        </p:nvGrpSpPr>
        <p:grpSpPr>
          <a:xfrm>
            <a:off x="380442" y="2690145"/>
            <a:ext cx="540000" cy="540000"/>
            <a:chOff x="708746" y="3781863"/>
            <a:chExt cx="540000" cy="540000"/>
          </a:xfrm>
          <a:solidFill>
            <a:srgbClr val="D26E25"/>
          </a:solidFill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18C10EA6-04C7-1279-15E8-D321C47E2303}"/>
                </a:ext>
              </a:extLst>
            </p:cNvPr>
            <p:cNvSpPr/>
            <p:nvPr/>
          </p:nvSpPr>
          <p:spPr>
            <a:xfrm>
              <a:off x="708746" y="3781863"/>
              <a:ext cx="540000" cy="540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2400" b="1">
                  <a:solidFill>
                    <a:schemeClr val="bg1">
                      <a:lumMod val="95000"/>
                    </a:schemeClr>
                  </a:solidFill>
                  <a:latin typeface="Calibri"/>
                  <a:ea typeface="Calibri"/>
                  <a:cs typeface="Calibri"/>
                </a:rPr>
                <a:t>3</a:t>
              </a: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990CF12A-3D8F-D559-E3AC-C109C7839A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6431" y="3831573"/>
              <a:ext cx="438518" cy="438518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1600">
                  <a:solidFill>
                    <a:schemeClr val="bg1">
                      <a:lumMod val="95000"/>
                    </a:schemeClr>
                  </a:solidFill>
                  <a:latin typeface="Calibri"/>
                  <a:ea typeface="Calibri"/>
                  <a:cs typeface="Calibri"/>
                </a:rPr>
                <a:t>3</a:t>
              </a:r>
            </a:p>
          </p:txBody>
        </p:sp>
      </p:grpSp>
      <p:sp>
        <p:nvSpPr>
          <p:cNvPr id="2051" name="TextBox 2050">
            <a:extLst>
              <a:ext uri="{FF2B5EF4-FFF2-40B4-BE49-F238E27FC236}">
                <a16:creationId xmlns:a16="http://schemas.microsoft.com/office/drawing/2014/main" id="{F46D07F9-7234-E04E-6763-EE06A47A39B3}"/>
              </a:ext>
            </a:extLst>
          </p:cNvPr>
          <p:cNvSpPr txBox="1"/>
          <p:nvPr/>
        </p:nvSpPr>
        <p:spPr>
          <a:xfrm>
            <a:off x="4239114" y="3081067"/>
            <a:ext cx="3667247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nl-BE" sz="2000" b="1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Registratie O&amp;DO en Edison</a:t>
            </a:r>
          </a:p>
          <a:p>
            <a:pPr marL="342900" indent="-342900" algn="just">
              <a:buAutoNum type="arabicParenR"/>
            </a:pPr>
            <a:r>
              <a:rPr lang="nl-BE" sz="140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Algemene start sessie: week van 7 oktober</a:t>
            </a:r>
          </a:p>
          <a:p>
            <a:pPr marL="342900" indent="-342900" algn="just">
              <a:buAutoNum type="arabicParenR"/>
            </a:pPr>
            <a:r>
              <a:rPr lang="nl-BE" sz="140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Individuele sessies: oktober / november</a:t>
            </a:r>
          </a:p>
          <a:p>
            <a:pPr marL="342900" indent="-342900">
              <a:buAutoNum type="arabicParenR"/>
            </a:pPr>
            <a:r>
              <a:rPr lang="nl-BE" sz="140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Algemene samenvatting sessie: eerste helft van december</a:t>
            </a:r>
          </a:p>
          <a:p>
            <a:pPr algn="just"/>
            <a:r>
              <a:rPr lang="nl-BE" sz="1400">
                <a:solidFill>
                  <a:srgbClr val="FFFFFF"/>
                </a:solidFill>
                <a:latin typeface="Calibri"/>
                <a:ea typeface="Calibri"/>
                <a:cs typeface="Calibri"/>
              </a:rPr>
              <a:t>→ Communicatie in de week van 5 augustus</a:t>
            </a:r>
          </a:p>
        </p:txBody>
      </p:sp>
      <p:grpSp>
        <p:nvGrpSpPr>
          <p:cNvPr id="2052" name="Group 2051">
            <a:extLst>
              <a:ext uri="{FF2B5EF4-FFF2-40B4-BE49-F238E27FC236}">
                <a16:creationId xmlns:a16="http://schemas.microsoft.com/office/drawing/2014/main" id="{159C81D2-2C72-5881-A27D-6116F63CD7D3}"/>
              </a:ext>
            </a:extLst>
          </p:cNvPr>
          <p:cNvGrpSpPr/>
          <p:nvPr/>
        </p:nvGrpSpPr>
        <p:grpSpPr>
          <a:xfrm>
            <a:off x="8063770" y="3242525"/>
            <a:ext cx="540000" cy="540000"/>
            <a:chOff x="708746" y="3781863"/>
            <a:chExt cx="540000" cy="540000"/>
          </a:xfrm>
          <a:solidFill>
            <a:srgbClr val="D26E25"/>
          </a:solidFill>
        </p:grpSpPr>
        <p:sp>
          <p:nvSpPr>
            <p:cNvPr id="2053" name="Oval 2052">
              <a:extLst>
                <a:ext uri="{FF2B5EF4-FFF2-40B4-BE49-F238E27FC236}">
                  <a16:creationId xmlns:a16="http://schemas.microsoft.com/office/drawing/2014/main" id="{72131A89-10DB-F031-19C0-0F03910650E1}"/>
                </a:ext>
              </a:extLst>
            </p:cNvPr>
            <p:cNvSpPr/>
            <p:nvPr/>
          </p:nvSpPr>
          <p:spPr>
            <a:xfrm>
              <a:off x="708746" y="3781863"/>
              <a:ext cx="540000" cy="540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2400" b="1">
                  <a:solidFill>
                    <a:schemeClr val="bg1">
                      <a:lumMod val="95000"/>
                    </a:schemeClr>
                  </a:solidFill>
                  <a:latin typeface="Calibri"/>
                  <a:ea typeface="Calibri"/>
                  <a:cs typeface="Calibri"/>
                </a:rPr>
                <a:t>4</a:t>
              </a:r>
            </a:p>
          </p:txBody>
        </p:sp>
        <p:sp>
          <p:nvSpPr>
            <p:cNvPr id="2054" name="Oval 2053">
              <a:extLst>
                <a:ext uri="{FF2B5EF4-FFF2-40B4-BE49-F238E27FC236}">
                  <a16:creationId xmlns:a16="http://schemas.microsoft.com/office/drawing/2014/main" id="{630B5125-44F6-CE1E-A50D-1775B8299CF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6431" y="3831573"/>
              <a:ext cx="438518" cy="438518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BE" sz="1600">
                  <a:solidFill>
                    <a:schemeClr val="bg1">
                      <a:lumMod val="95000"/>
                    </a:schemeClr>
                  </a:solidFill>
                  <a:latin typeface="Calibri"/>
                  <a:ea typeface="Calibri"/>
                  <a:cs typeface="Calibri"/>
                </a:rPr>
                <a:t>4</a:t>
              </a:r>
            </a:p>
          </p:txBody>
        </p:sp>
      </p:grpSp>
      <p:sp>
        <p:nvSpPr>
          <p:cNvPr id="2058" name="Rectangle 2057">
            <a:extLst>
              <a:ext uri="{FF2B5EF4-FFF2-40B4-BE49-F238E27FC236}">
                <a16:creationId xmlns:a16="http://schemas.microsoft.com/office/drawing/2014/main" id="{ED1FD80F-4508-52AF-5F54-970520B7A7A4}"/>
              </a:ext>
            </a:extLst>
          </p:cNvPr>
          <p:cNvSpPr/>
          <p:nvPr/>
        </p:nvSpPr>
        <p:spPr>
          <a:xfrm rot="16200000">
            <a:off x="-866370" y="1711319"/>
            <a:ext cx="45719" cy="2495589"/>
          </a:xfrm>
          <a:prstGeom prst="rect">
            <a:avLst/>
          </a:prstGeom>
          <a:solidFill>
            <a:srgbClr val="D26E2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/>
              <a:ea typeface="Calibri"/>
              <a:cs typeface="Calibri"/>
            </a:endParaRPr>
          </a:p>
        </p:txBody>
      </p:sp>
      <p:sp>
        <p:nvSpPr>
          <p:cNvPr id="2059" name="Rectangle 2058">
            <a:extLst>
              <a:ext uri="{FF2B5EF4-FFF2-40B4-BE49-F238E27FC236}">
                <a16:creationId xmlns:a16="http://schemas.microsoft.com/office/drawing/2014/main" id="{C7926C6A-5C20-A5DE-A692-4947824DD6B0}"/>
              </a:ext>
            </a:extLst>
          </p:cNvPr>
          <p:cNvSpPr/>
          <p:nvPr/>
        </p:nvSpPr>
        <p:spPr>
          <a:xfrm rot="16200000">
            <a:off x="9870277" y="576534"/>
            <a:ext cx="45719" cy="2495589"/>
          </a:xfrm>
          <a:prstGeom prst="rect">
            <a:avLst/>
          </a:prstGeom>
          <a:solidFill>
            <a:srgbClr val="D26E2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/>
              <a:ea typeface="Calibri"/>
              <a:cs typeface="Calibri"/>
            </a:endParaRPr>
          </a:p>
        </p:txBody>
      </p:sp>
      <p:sp>
        <p:nvSpPr>
          <p:cNvPr id="2060" name="Rectangle 2059">
            <a:extLst>
              <a:ext uri="{FF2B5EF4-FFF2-40B4-BE49-F238E27FC236}">
                <a16:creationId xmlns:a16="http://schemas.microsoft.com/office/drawing/2014/main" id="{43DAD583-A709-5A49-A65E-4E8328EB16BF}"/>
              </a:ext>
            </a:extLst>
          </p:cNvPr>
          <p:cNvSpPr/>
          <p:nvPr/>
        </p:nvSpPr>
        <p:spPr>
          <a:xfrm rot="16200000">
            <a:off x="9822592" y="2263699"/>
            <a:ext cx="45719" cy="2495589"/>
          </a:xfrm>
          <a:prstGeom prst="rect">
            <a:avLst/>
          </a:prstGeom>
          <a:solidFill>
            <a:srgbClr val="D26E2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latin typeface="Calibri"/>
              <a:ea typeface="Calibri"/>
              <a:cs typeface="Calibri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FBF57B4-5AE0-C87F-64A7-59FE34AEC39A}"/>
              </a:ext>
            </a:extLst>
          </p:cNvPr>
          <p:cNvGrpSpPr/>
          <p:nvPr/>
        </p:nvGrpSpPr>
        <p:grpSpPr>
          <a:xfrm>
            <a:off x="4615785" y="1607298"/>
            <a:ext cx="3474783" cy="1046440"/>
            <a:chOff x="4615785" y="1607298"/>
            <a:chExt cx="3474783" cy="1046440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F64F5D5-5608-9808-87A6-F6C4A20110C1}"/>
                </a:ext>
              </a:extLst>
            </p:cNvPr>
            <p:cNvSpPr txBox="1"/>
            <p:nvPr/>
          </p:nvSpPr>
          <p:spPr>
            <a:xfrm>
              <a:off x="4615785" y="1607298"/>
              <a:ext cx="3474783" cy="104644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nl-BE" sz="2000" b="1">
                  <a:solidFill>
                    <a:srgbClr val="FFFFFF"/>
                  </a:solidFill>
                  <a:latin typeface="Calibri"/>
                  <a:ea typeface="Calibri"/>
                  <a:cs typeface="Calibri"/>
                </a:rPr>
                <a:t>API specificaties meedelen</a:t>
              </a:r>
            </a:p>
            <a:p>
              <a:pPr algn="r"/>
              <a:r>
                <a:rPr lang="nl-BE" sz="1400">
                  <a:solidFill>
                    <a:srgbClr val="FFFFFF"/>
                  </a:solidFill>
                  <a:latin typeface="Calibri"/>
                  <a:ea typeface="Calibri"/>
                  <a:cs typeface="Calibri"/>
                </a:rPr>
                <a:t>Mail</a:t>
              </a:r>
            </a:p>
            <a:p>
              <a:pPr algn="r"/>
              <a:r>
                <a:rPr lang="nl-BE" sz="700">
                  <a:solidFill>
                    <a:srgbClr val="00B0F0"/>
                  </a:solidFill>
                  <a:latin typeface="Calibri"/>
                  <a:ea typeface="Calibri"/>
                  <a:cs typeface="Calibri"/>
                  <a:hlinkClick r:id="rId3"/>
                </a:rPr>
                <a:t>https://github.com/Draft-OenV-personeelsAPIs-vr-SWL/personalia</a:t>
              </a:r>
              <a:r>
                <a:rPr lang="nl-BE" sz="700">
                  <a:solidFill>
                    <a:srgbClr val="00B0F0"/>
                  </a:solidFill>
                  <a:latin typeface="Calibri"/>
                  <a:ea typeface="Calibri"/>
                  <a:cs typeface="Calibri"/>
                </a:rPr>
                <a:t>  </a:t>
              </a:r>
              <a:r>
                <a:rPr lang="nl-BE" sz="1400">
                  <a:solidFill>
                    <a:srgbClr val="FFFFFF"/>
                  </a:solidFill>
                  <a:latin typeface="Calibri"/>
                  <a:ea typeface="Calibri"/>
                  <a:cs typeface="Calibri"/>
                </a:rPr>
                <a:t>- </a:t>
              </a:r>
              <a:r>
                <a:rPr lang="nl-BE" sz="1400" err="1">
                  <a:solidFill>
                    <a:srgbClr val="FFFFFF"/>
                  </a:solidFill>
                  <a:latin typeface="Calibri"/>
                  <a:ea typeface="Calibri"/>
                  <a:cs typeface="Calibri"/>
                </a:rPr>
                <a:t>Github</a:t>
              </a:r>
              <a:endParaRPr lang="nl-BE" sz="1400">
                <a:solidFill>
                  <a:srgbClr val="FFFFFF"/>
                </a:solidFill>
                <a:latin typeface="Calibri"/>
                <a:ea typeface="Calibri"/>
                <a:cs typeface="Calibri"/>
              </a:endParaRPr>
            </a:p>
            <a:p>
              <a:pPr algn="r"/>
              <a:r>
                <a:rPr lang="nl-BE" sz="1400">
                  <a:solidFill>
                    <a:srgbClr val="FFFFFF"/>
                  </a:solidFill>
                  <a:latin typeface="Calibri"/>
                  <a:ea typeface="Calibri"/>
                  <a:cs typeface="Calibri"/>
                </a:rPr>
                <a:t>      API Portaal Onderwijs Vlaanderen </a:t>
              </a:r>
            </a:p>
          </p:txBody>
        </p:sp>
        <p:pic>
          <p:nvPicPr>
            <p:cNvPr id="2062" name="Graphic 2061" descr="Warning with solid fill">
              <a:extLst>
                <a:ext uri="{FF2B5EF4-FFF2-40B4-BE49-F238E27FC236}">
                  <a16:creationId xmlns:a16="http://schemas.microsoft.com/office/drawing/2014/main" id="{7E89EC64-7CF9-88DE-309E-FF30EBEA7B0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292330" y="2357890"/>
              <a:ext cx="239141" cy="2391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73898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0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2" grpId="0" animBg="1"/>
      <p:bldP spid="25" grpId="0"/>
      <p:bldP spid="2051" grpId="0"/>
      <p:bldP spid="2058" grpId="0" animBg="1"/>
      <p:bldP spid="2059" grpId="0" animBg="1"/>
      <p:bldP spid="206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angepast ontwerp">
  <a:themeElements>
    <a:clrScheme name="VO_AGODI">
      <a:dk1>
        <a:srgbClr val="373636"/>
      </a:dk1>
      <a:lt1>
        <a:srgbClr val="FFFFFF"/>
      </a:lt1>
      <a:dk2>
        <a:srgbClr val="6B6B6B"/>
      </a:dk2>
      <a:lt2>
        <a:srgbClr val="F6F5F3"/>
      </a:lt2>
      <a:accent1>
        <a:srgbClr val="FFF200"/>
      </a:accent1>
      <a:accent2>
        <a:srgbClr val="373636"/>
      </a:accent2>
      <a:accent3>
        <a:srgbClr val="E5DA04"/>
      </a:accent3>
      <a:accent4>
        <a:srgbClr val="E53312"/>
      </a:accent4>
      <a:accent5>
        <a:srgbClr val="EFA201"/>
      </a:accent5>
      <a:accent6>
        <a:srgbClr val="D36D24"/>
      </a:accent6>
      <a:hlink>
        <a:srgbClr val="3C96BE"/>
      </a:hlink>
      <a:folHlink>
        <a:srgbClr val="AA78AA"/>
      </a:folHlink>
    </a:clrScheme>
    <a:fontScheme name="Vlaamse overheid presentatie">
      <a:majorFont>
        <a:latin typeface="FlandersArtSans-Medium"/>
        <a:ea typeface=""/>
        <a:cs typeface=""/>
      </a:majorFont>
      <a:minorFont>
        <a:latin typeface="FlandersArtSerif-Regular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e2" id="{A23BC614-CEA3-485E-B119-82AE143A7389}" vid="{449EC3B0-EC2E-43B4-AA89-DF7E63B84666}"/>
    </a:ext>
  </a:extLst>
</a:theme>
</file>

<file path=ppt/theme/theme2.xml><?xml version="1.0" encoding="utf-8"?>
<a:theme xmlns:a="http://schemas.openxmlformats.org/drawingml/2006/main" name="2_Aangepast ontwerp">
  <a:themeElements>
    <a:clrScheme name="VO_AGODI">
      <a:dk1>
        <a:srgbClr val="373636"/>
      </a:dk1>
      <a:lt1>
        <a:srgbClr val="FFFFFF"/>
      </a:lt1>
      <a:dk2>
        <a:srgbClr val="6B6B6B"/>
      </a:dk2>
      <a:lt2>
        <a:srgbClr val="F6F5F3"/>
      </a:lt2>
      <a:accent1>
        <a:srgbClr val="FFF200"/>
      </a:accent1>
      <a:accent2>
        <a:srgbClr val="373636"/>
      </a:accent2>
      <a:accent3>
        <a:srgbClr val="E5DA04"/>
      </a:accent3>
      <a:accent4>
        <a:srgbClr val="E53312"/>
      </a:accent4>
      <a:accent5>
        <a:srgbClr val="EFA201"/>
      </a:accent5>
      <a:accent6>
        <a:srgbClr val="D36D24"/>
      </a:accent6>
      <a:hlink>
        <a:srgbClr val="3C96BE"/>
      </a:hlink>
      <a:folHlink>
        <a:srgbClr val="AA78AA"/>
      </a:folHlink>
    </a:clrScheme>
    <a:fontScheme name="Vlaamse overheid presentatie">
      <a:majorFont>
        <a:latin typeface="FlandersArtSans-Medium"/>
        <a:ea typeface=""/>
        <a:cs typeface=""/>
      </a:majorFont>
      <a:minorFont>
        <a:latin typeface="FlandersArtSerif-Regular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GODI_huisstijl" id="{3D7E9DFD-602E-476C-B6D7-C5B6B443D150}" vid="{1681C5C9-0542-4DF6-B31A-FC301FCDF604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a9ec0f0-7796-43d0-ac1f-4c8c46ee0bd1" xsi:nil="true"/>
    <lcf76f155ced4ddcb4097134ff3c332f xmlns="9578e1bf-42d2-417c-b05f-6e90cdfa3407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CD3552B97516438CEE03F3CAF25078" ma:contentTypeVersion="20" ma:contentTypeDescription="Een nieuw document maken." ma:contentTypeScope="" ma:versionID="25be1f2cbc8fd0222d0b2d2f20b98992">
  <xsd:schema xmlns:xsd="http://www.w3.org/2001/XMLSchema" xmlns:xs="http://www.w3.org/2001/XMLSchema" xmlns:p="http://schemas.microsoft.com/office/2006/metadata/properties" xmlns:ns2="9578e1bf-42d2-417c-b05f-6e90cdfa3407" xmlns:ns3="137a8890-bfbc-4151-ba6f-3c942b391ce0" xmlns:ns4="9a9ec0f0-7796-43d0-ac1f-4c8c46ee0bd1" targetNamespace="http://schemas.microsoft.com/office/2006/metadata/properties" ma:root="true" ma:fieldsID="47e2f418c8c0dd55928c673b7558ad8b" ns2:_="" ns3:_="" ns4:_="">
    <xsd:import namespace="9578e1bf-42d2-417c-b05f-6e90cdfa3407"/>
    <xsd:import namespace="137a8890-bfbc-4151-ba6f-3c942b391ce0"/>
    <xsd:import namespace="9a9ec0f0-7796-43d0-ac1f-4c8c46ee0bd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78e1bf-42d2-417c-b05f-6e90cdfa34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Afbeeldingtags" ma:readOnly="false" ma:fieldId="{5cf76f15-5ced-4ddc-b409-7134ff3c332f}" ma:taxonomyMulti="true" ma:sspId="49ca8161-7180-459b-a0ef-1a71cf6ffea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7a8890-bfbc-4151-ba6f-3c942b391ce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9ec0f0-7796-43d0-ac1f-4c8c46ee0bd1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c0734ae1-43af-4a5a-9e20-e6a8119cdc9f}" ma:internalName="TaxCatchAll" ma:showField="CatchAllData" ma:web="137a8890-bfbc-4151-ba6f-3c942b391ce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7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0FCB7D1-541A-4BF2-A8CA-8444CF8EA763}">
  <ds:schemaRefs>
    <ds:schemaRef ds:uri="6bfeb70a-b169-4139-a067-a9c2d17eea2e"/>
    <ds:schemaRef ds:uri="9578e1bf-42d2-417c-b05f-6e90cdfa3407"/>
    <ds:schemaRef ds:uri="9a9ec0f0-7796-43d0-ac1f-4c8c46ee0bd1"/>
    <ds:schemaRef ds:uri="c4f11d4f-27a8-41f1-9b98-041f3d65790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0264DBD-3C0E-44A0-BEE9-C7442580136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6F9010C-C5F3-47B2-87BC-FE16D2A6A5DD}">
  <ds:schemaRefs>
    <ds:schemaRef ds:uri="137a8890-bfbc-4151-ba6f-3c942b391ce0"/>
    <ds:schemaRef ds:uri="9578e1bf-42d2-417c-b05f-6e90cdfa3407"/>
    <ds:schemaRef ds:uri="9a9ec0f0-7796-43d0-ac1f-4c8c46ee0bd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_PPT</Template>
  <Application>Microsoft Office PowerPoint</Application>
  <PresentationFormat>Diavoorstelling (16:9)</PresentationFormat>
  <Slides>10</Slides>
  <Notes>10</Notes>
  <HiddenSlides>0</HiddenSlides>
  <ScaleCrop>false</ScaleCrop>
  <HeadingPairs>
    <vt:vector size="4" baseType="variant">
      <vt:variant>
        <vt:lpstr>Thema</vt:lpstr>
      </vt:variant>
      <vt:variant>
        <vt:i4>2</vt:i4>
      </vt:variant>
      <vt:variant>
        <vt:lpstr>Diatitels</vt:lpstr>
      </vt:variant>
      <vt:variant>
        <vt:i4>10</vt:i4>
      </vt:variant>
    </vt:vector>
  </HeadingPairs>
  <TitlesOfParts>
    <vt:vector size="12" baseType="lpstr">
      <vt:lpstr>Aangepast ontwerp</vt:lpstr>
      <vt:lpstr>2_Aangepast ontwerp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CIJFERS</vt:lpstr>
      <vt:lpstr>CIJFERS</vt:lpstr>
      <vt:lpstr>PowerPoint-presentatie</vt:lpstr>
      <vt:lpstr>PowerPoint-presentatie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lissingsoverleg</dc:title>
  <dc:creator>Claus Evelien</dc:creator>
  <cp:revision>4</cp:revision>
  <dcterms:created xsi:type="dcterms:W3CDTF">2023-06-29T14:44:38Z</dcterms:created>
  <dcterms:modified xsi:type="dcterms:W3CDTF">2024-07-09T06:56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CD3552B97516438CEE03F3CAF25078</vt:lpwstr>
  </property>
  <property fmtid="{D5CDD505-2E9C-101B-9397-08002B2CF9AE}" pid="3" name="MediaServiceImageTags">
    <vt:lpwstr/>
  </property>
</Properties>
</file>